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5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6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7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8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9.xml" ContentType="application/vnd.openxmlformats-officedocument.them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10.xml" ContentType="application/vnd.openxmlformats-officedocument.theme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11.xml" ContentType="application/vnd.openxmlformats-officedocument.theme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heme/theme1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13.xml" ContentType="application/vnd.openxmlformats-officedocument.theme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716" r:id="rId5"/>
    <p:sldMasterId id="2147483878" r:id="rId6"/>
    <p:sldMasterId id="2147483720" r:id="rId7"/>
    <p:sldMasterId id="2147483732" r:id="rId8"/>
    <p:sldMasterId id="2147484036" r:id="rId9"/>
    <p:sldMasterId id="2147483742" r:id="rId10"/>
    <p:sldMasterId id="2147483824" r:id="rId11"/>
    <p:sldMasterId id="2147483984" r:id="rId12"/>
    <p:sldMasterId id="2147483859" r:id="rId13"/>
    <p:sldMasterId id="2147483929" r:id="rId14"/>
    <p:sldMasterId id="2147483783" r:id="rId15"/>
  </p:sldMasterIdLst>
  <p:notesMasterIdLst>
    <p:notesMasterId r:id="rId39"/>
  </p:notesMasterIdLst>
  <p:handoutMasterIdLst>
    <p:handoutMasterId r:id="rId40"/>
  </p:handoutMasterIdLst>
  <p:sldIdLst>
    <p:sldId id="462" r:id="rId16"/>
    <p:sldId id="629" r:id="rId17"/>
    <p:sldId id="11474" r:id="rId18"/>
    <p:sldId id="11476" r:id="rId19"/>
    <p:sldId id="11477" r:id="rId20"/>
    <p:sldId id="11479" r:id="rId21"/>
    <p:sldId id="727" r:id="rId22"/>
    <p:sldId id="749" r:id="rId23"/>
    <p:sldId id="867" r:id="rId24"/>
    <p:sldId id="921" r:id="rId25"/>
    <p:sldId id="922" r:id="rId26"/>
    <p:sldId id="806" r:id="rId27"/>
    <p:sldId id="866" r:id="rId28"/>
    <p:sldId id="777" r:id="rId29"/>
    <p:sldId id="756" r:id="rId30"/>
    <p:sldId id="891" r:id="rId31"/>
    <p:sldId id="896" r:id="rId32"/>
    <p:sldId id="895" r:id="rId33"/>
    <p:sldId id="892" r:id="rId34"/>
    <p:sldId id="835" r:id="rId35"/>
    <p:sldId id="831" r:id="rId36"/>
    <p:sldId id="862" r:id="rId37"/>
    <p:sldId id="907" r:id="rId3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nnect Student Registration" id="{5C75EF3B-86B8-6647-A64C-81E4B07450B2}">
          <p14:sldIdLst>
            <p14:sldId id="462"/>
            <p14:sldId id="629"/>
            <p14:sldId id="11474"/>
            <p14:sldId id="11476"/>
            <p14:sldId id="11477"/>
            <p14:sldId id="11479"/>
          </p14:sldIdLst>
        </p14:section>
        <p14:section name="TOC &amp; FDOC Checklist" id="{B81BF79C-4B52-1C42-93D3-214D7CBB0BDB}">
          <p14:sldIdLst>
            <p14:sldId id="727"/>
          </p14:sldIdLst>
        </p14:section>
        <p14:section name="CONNECT and Sharpen Companion FDOC" id="{A0C82838-10D7-43A1-9983-E9A634D22EF6}">
          <p14:sldIdLst>
            <p14:sldId id="749"/>
            <p14:sldId id="867"/>
            <p14:sldId id="921"/>
            <p14:sldId id="922"/>
            <p14:sldId id="806"/>
            <p14:sldId id="866"/>
            <p14:sldId id="777"/>
            <p14:sldId id="756"/>
          </p14:sldIdLst>
        </p14:section>
        <p14:section name="Sharpen Companion: Connect, IA, no LMS" id="{DCE14A7B-D859-4193-9209-7B9CD241FF7E}">
          <p14:sldIdLst>
            <p14:sldId id="891"/>
            <p14:sldId id="896"/>
            <p14:sldId id="895"/>
            <p14:sldId id="892"/>
          </p14:sldIdLst>
        </p14:section>
        <p14:section name="Sharpen Companion: Connect Log-In, no LMS" id="{8AF5A141-43CC-4923-9220-086A34833D33}">
          <p14:sldIdLst>
            <p14:sldId id="835"/>
            <p14:sldId id="831"/>
            <p14:sldId id="862"/>
            <p14:sldId id="90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BD84612-01DC-28C1-4AA5-EDB50D6A630E}" name="Henig, Sarit" initials="HS" userId="S::sarit.henig@mheducation.com::ad83c6bf-9a7d-4a88-b545-e6e8836bd6ee" providerId="AD"/>
  <p188:author id="{C1D3EC44-2A49-0274-D086-8618EBEE3CBE}" name="Aller, Natalie" initials="" userId="S::Natalie.Aller@mheducation.com::92aaa3dc-9298-450d-b5b0-88d600ea217d" providerId="AD"/>
  <p188:author id="{1615368D-5146-B2EC-766E-281DF745382A}" name="Mcmanus, Cathy" initials="MC" userId="S::cathy.mcmanus@mheducation.com::f6f2004f-42b0-4d49-b784-7d0ab1b5edee" providerId="AD"/>
  <p188:author id="{A73DA2DF-F3D0-C5CA-884D-19E61C0D3FFA}" name="Smitherman, Erin" initials="SE" userId="S::erin.smitherman@mheducation.com::6a5b2dc9-4c06-4251-b6ef-d4dc50cd37d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38"/>
    <p:restoredTop sz="94658"/>
  </p:normalViewPr>
  <p:slideViewPr>
    <p:cSldViewPr snapToGrid="0">
      <p:cViewPr>
        <p:scale>
          <a:sx n="127" d="100"/>
          <a:sy n="127" d="100"/>
        </p:scale>
        <p:origin x="184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6.xml"/><Relationship Id="rId34" Type="http://schemas.openxmlformats.org/officeDocument/2006/relationships/slide" Target="slides/slide19.xml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9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9.xml"/><Relationship Id="rId32" Type="http://schemas.openxmlformats.org/officeDocument/2006/relationships/slide" Target="slides/slide17.xml"/><Relationship Id="rId37" Type="http://schemas.openxmlformats.org/officeDocument/2006/relationships/slide" Target="slides/slide22.xml"/><Relationship Id="rId40" Type="http://schemas.openxmlformats.org/officeDocument/2006/relationships/handoutMaster" Target="handoutMasters/handoutMaster1.xml"/><Relationship Id="rId45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36" Type="http://schemas.openxmlformats.org/officeDocument/2006/relationships/slide" Target="slides/slide2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4.xml"/><Relationship Id="rId31" Type="http://schemas.openxmlformats.org/officeDocument/2006/relationships/slide" Target="slides/slide16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slide" Target="slides/slide15.xml"/><Relationship Id="rId35" Type="http://schemas.openxmlformats.org/officeDocument/2006/relationships/slide" Target="slides/slide20.xml"/><Relationship Id="rId43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slide" Target="slides/slide18.xml"/><Relationship Id="rId38" Type="http://schemas.openxmlformats.org/officeDocument/2006/relationships/slide" Target="slides/slide23.xml"/><Relationship Id="rId20" Type="http://schemas.openxmlformats.org/officeDocument/2006/relationships/slide" Target="slides/slide5.xml"/><Relationship Id="rId41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C8B9842-8E57-FA7B-7478-DA412A87942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95C62FE-88B7-0EC8-CDBC-5AF99272B48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088991-3BD6-5945-A53D-477BACF5905D}" type="datetimeFigureOut">
              <a:rPr lang="en-US" smtClean="0"/>
              <a:t>5/28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A025C13-6B8D-C011-C705-95ADF35F836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8C2207-B0CB-1138-0457-10588AA5498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A42495-FACE-F749-8D87-3175C066BC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90389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AD9B68-2129-E747-B5AF-0553D7866B9D}" type="datetimeFigureOut">
              <a:rPr lang="en-US" smtClean="0"/>
              <a:t>5/28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A9B8B0-6DDC-8945-BE88-15F72254A7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00465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261ABF-A388-0B40-BA66-489EF1132D8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5696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D415BE-95DE-4DD7-6011-37DC123B8F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5059056-98C0-0FFA-9122-4E2AA5C220B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C523A4F-F7C8-EA79-5531-09DE61541BB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DF6188-0AD5-6C87-0037-76AF4DE33A4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33608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130551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C42F60-6CEA-D884-A059-68C2B380B8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D0325D4-B990-F6A5-1534-2695B2FC1DA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4825EA1-F8A3-7EBC-A7E3-0578FAB1E6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456C6C-F97C-9DD9-19DA-8B494535392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330875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230FF0-6D5E-E8A4-DC00-03647FA4EE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D1F920B-4BBB-8427-F7F0-7EA0E29472F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84A2D0B-E40C-8BDB-5914-FD5472705CD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3FCDB9-0E3E-B0A1-2F08-84583251C86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968622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2E8C58A-D1BC-3680-97A5-B06EE4384C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DCDB865-FB3A-E40C-03E4-9446BB416BB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5718A18-8009-0A7E-91BA-208F48FD709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81188D2-A8FC-CEA5-3BD8-957AC2A2F1C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3645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9541EA-8F14-C79A-54FF-4F814A315A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76A59AA-2F10-0B87-2864-FD260BC3320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6FCAF11-BDA1-36D7-BAED-55CAC38847B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1772CD-73E6-975B-9CA1-55F32D0A636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625507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10F1F6-43C9-A04D-BE21-36E52EB380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8E9B101-F899-6754-BE65-D39F75F391C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C6CA172-CE8F-E79F-1EFB-C591B0145A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9B351C-08F1-B435-6BF6-8328A234186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6346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8C3094-58F9-C6E0-E680-4CD95123F3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1A92D68-5AD7-8089-5B48-092AD7FF795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0618CC8-D6F6-3FD0-313E-821F86EC67A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800"/>
              </a:lnSpc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09608A-81C0-CAA1-6D92-31622D11C43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887447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BD99EC-5EB9-7D08-1D62-1ED9B8C3694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FA26254-D953-E1E5-DA8F-C735C971DED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8C93C0-5670-5870-E2A1-48263669D9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800"/>
              </a:lnSpc>
            </a:pP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A9A7D9-B28B-C3BB-6592-06D38EB5C85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534379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02AC0C-1B8B-F697-680A-C5781B2E9E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13FD99-5DA6-6BF6-254C-4B1A88BB09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31E63C-B9A7-A061-FC88-DD3933BBB0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23A2C2-7808-FED1-2B02-9DF422B8AF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4755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261ABF-A388-0B40-BA66-489EF1132D8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86076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122A62-A79E-4119-B229-FBF7365A5F3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78977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87749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1F4AA9-FBAD-4349-DAE2-74DE39C58E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95DE03E-AA78-2089-2D72-4E37044914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0657EDD-AAA5-16A4-C365-DA1D52687B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28CA6C-AA40-EA62-990A-C5F58A4A4B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8319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51019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6BA09C-FA6D-2E31-A31A-11B853024A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CA09232-9813-F9D0-B520-2BBEFBD649B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FF96E22-44E5-A3B8-BE31-298EA2989F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392C17-C704-010B-A7C5-14C6988137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4217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C7C658-A5C1-FE5E-594D-ABEBB90443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B31A124-2349-67C9-279B-51F8F2C236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71620C5-575E-A89D-335F-663083F503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0084B0-B107-07FA-18ED-6272844AE31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43728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792D7C-7077-49A2-6043-185CD13F88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27336EB-F27A-0281-8053-D53E10C33B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6309209-BCF7-5CBE-6370-0E29E3B7CF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15C2E4-3337-BE78-698B-5CDBD79669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90144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9.sv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sv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9.sv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sv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3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5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9.svg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sv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EDF070E-4902-2446-B5CB-C543792B30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98F4E8AE-83DE-3E46-8112-47F77FF98D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498906"/>
            <a:ext cx="11897228" cy="5155113"/>
            <a:chOff x="0" y="498906"/>
            <a:chExt cx="11897228" cy="5155113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DD5D82C0-6CAF-574D-B118-855822081320}"/>
                </a:ext>
              </a:extLst>
            </p:cNvPr>
            <p:cNvSpPr/>
            <p:nvPr userDrawn="1"/>
          </p:nvSpPr>
          <p:spPr>
            <a:xfrm rot="18900000">
              <a:off x="10849492" y="884438"/>
              <a:ext cx="958143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C9EDF456-8163-F143-AF4A-903B97CE9BC9}"/>
                </a:ext>
              </a:extLst>
            </p:cNvPr>
            <p:cNvSpPr/>
            <p:nvPr userDrawn="1"/>
          </p:nvSpPr>
          <p:spPr>
            <a:xfrm rot="18900000">
              <a:off x="10890847" y="984019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82336C6D-E628-0041-857C-9322A2451661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53" name="Parallelogram 52">
                <a:extLst>
                  <a:ext uri="{FF2B5EF4-FFF2-40B4-BE49-F238E27FC236}">
                    <a16:creationId xmlns:a16="http://schemas.microsoft.com/office/drawing/2014/main" id="{DCC0BD75-E04F-104D-9C21-744FA4C6EF68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4" name="Parallelogram 53">
                <a:extLst>
                  <a:ext uri="{FF2B5EF4-FFF2-40B4-BE49-F238E27FC236}">
                    <a16:creationId xmlns:a16="http://schemas.microsoft.com/office/drawing/2014/main" id="{BFEE5699-8431-704F-A655-FD491E2D8B60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648EC5FD-D283-3B4D-A3B4-908D0BC14F43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51" name="Parallelogram 61">
                <a:extLst>
                  <a:ext uri="{FF2B5EF4-FFF2-40B4-BE49-F238E27FC236}">
                    <a16:creationId xmlns:a16="http://schemas.microsoft.com/office/drawing/2014/main" id="{AD9D228C-7638-1141-83AF-BA7FF2D55EAE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Parallelogram 61">
                <a:extLst>
                  <a:ext uri="{FF2B5EF4-FFF2-40B4-BE49-F238E27FC236}">
                    <a16:creationId xmlns:a16="http://schemas.microsoft.com/office/drawing/2014/main" id="{CEF32391-A87F-C646-AB2F-1C912C7ABA50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77736CA0-AFFD-DB4F-8C22-2F4A88CE95D4}"/>
                </a:ext>
              </a:extLst>
            </p:cNvPr>
            <p:cNvSpPr/>
            <p:nvPr userDrawn="1"/>
          </p:nvSpPr>
          <p:spPr>
            <a:xfrm>
              <a:off x="9552721" y="1203981"/>
              <a:ext cx="1482643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81F8AE9E-4B8A-9E48-8669-C9853A249D82}"/>
                </a:ext>
              </a:extLst>
            </p:cNvPr>
            <p:cNvSpPr/>
            <p:nvPr userDrawn="1"/>
          </p:nvSpPr>
          <p:spPr>
            <a:xfrm>
              <a:off x="9618398" y="1320692"/>
              <a:ext cx="1460280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A43DF850-F8DA-9A4F-A9A4-0D9AAD65685F}"/>
                </a:ext>
              </a:extLst>
            </p:cNvPr>
            <p:cNvSpPr/>
            <p:nvPr userDrawn="1"/>
          </p:nvSpPr>
          <p:spPr>
            <a:xfrm rot="16200000">
              <a:off x="7335022" y="3370643"/>
              <a:ext cx="4450040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DB35AD5C-8478-8E4E-98D3-32BC46C27148}"/>
                </a:ext>
              </a:extLst>
            </p:cNvPr>
            <p:cNvSpPr/>
            <p:nvPr userDrawn="1"/>
          </p:nvSpPr>
          <p:spPr>
            <a:xfrm rot="16200000">
              <a:off x="7510091" y="3428998"/>
              <a:ext cx="4333326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C5E48F8A-E28A-FB4B-B7D2-9FB364C19165}"/>
                </a:ext>
              </a:extLst>
            </p:cNvPr>
            <p:cNvSpPr/>
            <p:nvPr userDrawn="1"/>
          </p:nvSpPr>
          <p:spPr>
            <a:xfrm>
              <a:off x="0" y="5420595"/>
              <a:ext cx="9572617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63ECE769-2F0D-354F-8005-B0E084BFBE6D}"/>
                </a:ext>
              </a:extLst>
            </p:cNvPr>
            <p:cNvSpPr/>
            <p:nvPr userDrawn="1"/>
          </p:nvSpPr>
          <p:spPr>
            <a:xfrm>
              <a:off x="0" y="5537306"/>
              <a:ext cx="966417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ABADAE6B-754B-4148-902D-7F291DD0F7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rgbClr val="E21A23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7EC5B62-5641-E247-A8B8-460001BE78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rgbClr val="E21A23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2">
            <a:extLst>
              <a:ext uri="{FF2B5EF4-FFF2-40B4-BE49-F238E27FC236}">
                <a16:creationId xmlns:a16="http://schemas.microsoft.com/office/drawing/2014/main" id="{67A20382-9199-2847-97B8-8288D88FD1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64" name="Subtitle">
            <a:extLst>
              <a:ext uri="{FF2B5EF4-FFF2-40B4-BE49-F238E27FC236}">
                <a16:creationId xmlns:a16="http://schemas.microsoft.com/office/drawing/2014/main" id="{390AD8CB-CC7E-984F-9F6D-99A3A55A0A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pic>
        <p:nvPicPr>
          <p:cNvPr id="45" name="Picture 44" descr="McGraw Hill cube Logo">
            <a:extLst>
              <a:ext uri="{FF2B5EF4-FFF2-40B4-BE49-F238E27FC236}">
                <a16:creationId xmlns:a16="http://schemas.microsoft.com/office/drawing/2014/main" id="{69BF1FB9-C8BA-C141-BB8B-638E1DEEC6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  <p:sp>
        <p:nvSpPr>
          <p:cNvPr id="65" name="Name &amp; Surname">
            <a:extLst>
              <a:ext uri="{FF2B5EF4-FFF2-40B4-BE49-F238E27FC236}">
                <a16:creationId xmlns:a16="http://schemas.microsoft.com/office/drawing/2014/main" id="{434E83B2-513B-D840-ACC2-97CDC476F0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66" name="Numeral Date">
            <a:extLst>
              <a:ext uri="{FF2B5EF4-FFF2-40B4-BE49-F238E27FC236}">
                <a16:creationId xmlns:a16="http://schemas.microsoft.com/office/drawing/2014/main" id="{FC4E2726-14C8-B14D-9721-7807227392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010DFA6-01F6-0757-3388-4125680AE6B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354319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VIOLET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Four young people collaborate around a table. They use a laptop, textbook, smartphone, and sticky notes. Each has a relaxed, but intent, expression.&#10;">
            <a:extLst>
              <a:ext uri="{FF2B5EF4-FFF2-40B4-BE49-F238E27FC236}">
                <a16:creationId xmlns:a16="http://schemas.microsoft.com/office/drawing/2014/main" id="{7FC1136F-CA1A-304F-BD87-6F5AD28DF6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0053" y="0"/>
            <a:ext cx="12232106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AF19FE6E-ABD4-0641-9E4F-ECE7E253AD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0" name="Name &amp; Surname">
            <a:extLst>
              <a:ext uri="{FF2B5EF4-FFF2-40B4-BE49-F238E27FC236}">
                <a16:creationId xmlns:a16="http://schemas.microsoft.com/office/drawing/2014/main" id="{7526AB89-E183-9647-B0C6-8DBEA8E2B6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A35E7039-7E5C-EA46-8A76-6BF0BD49C6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EE8D7D83-3733-6544-9A18-692EAF055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1" name="Picture 10" descr="McGraw Hill red cube logo ">
            <a:extLst>
              <a:ext uri="{FF2B5EF4-FFF2-40B4-BE49-F238E27FC236}">
                <a16:creationId xmlns:a16="http://schemas.microsoft.com/office/drawing/2014/main" id="{2133F0EF-B82D-AB41-BC98-F67769B6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6001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36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46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73551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1087D9-F0F6-C895-0299-18BA5AE4D2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1193" y="1366153"/>
            <a:ext cx="2133800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4D98E4F-19CC-A1A6-7663-3089531D65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07D3B733-CC4C-192E-4072-6E2332F22C9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50229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800097F-793A-A8DD-23CD-E85E56C9DF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5497173D-CC38-B96D-A0F3-8EDEA9494E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2F925196-A322-2E1A-3E6F-45D39B5C3BB3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8188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5311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2F88899-822A-2BAC-C0BB-931CD16C32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0161" y="1366153"/>
            <a:ext cx="2133800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5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46697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948AF60-D99C-18A5-0A22-0D341CF07A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144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A96E7CA0-8C3C-3EBD-6ED3-9BB769E80B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" name="Body Text">
            <a:extLst>
              <a:ext uri="{FF2B5EF4-FFF2-40B4-BE49-F238E27FC236}">
                <a16:creationId xmlns:a16="http://schemas.microsoft.com/office/drawing/2014/main" id="{F788FE61-2449-64AF-DCE2-15E103FAA20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Body Text">
            <a:extLst>
              <a:ext uri="{FF2B5EF4-FFF2-40B4-BE49-F238E27FC236}">
                <a16:creationId xmlns:a16="http://schemas.microsoft.com/office/drawing/2014/main" id="{43578A47-72BE-6C4B-C324-1DA3363963F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72137697-89EC-9F1C-0D19-51DF4306ED77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BF8800D-1DE3-3FD3-069C-4F3BA01D2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2366123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DFB25E2-62AC-989D-869E-A1139CC820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rgbClr val="092467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A210F576-544A-CEAC-3E61-8A8D67FDB6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1DA6AA1F-7BBE-D1AD-AD1F-C4AFC62C941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1E4CAEF0-50E4-ADAC-E4A7-03D572F8956D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29C2F1D-5554-DDC9-02AE-906934B59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40850430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BFF64230-07C6-7B2F-A4C6-3382A20E66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8BA3C0C5-F112-F484-ECD8-531C8D339AA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DAE621AD-BA72-B1A5-3402-74C1B2E4DDB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33CDB57F-9CE5-5F88-4534-111CCA92285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CD6DDB3-128C-CADE-AE3E-921A19D835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3875740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424A5EE1-F1FD-B460-8956-BCE847515B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45B31E94-5DB4-9A14-F934-E25215461A5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B26C7E3B-6F5C-CDE9-061A-297F5473CA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DA3A8863-2B69-0D33-13BA-80ACAFA112A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86B534F4-22A8-5E4C-F4FE-C95F8A9253C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6E297E9E-72E3-45CD-2CE0-8FCA6B335AD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B65CF966-233B-A64C-3964-34087DD3CDA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7D57079D-6FBC-F402-1F73-376DBC7B027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BFCC252E-79D1-9413-CBF9-D4A68D0C6D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74C85F6F-4418-EB83-5AD2-7D1A5B7EE65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00BA9D89-5898-926B-F580-BA00D0C4B1B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449D3811-7FC3-FCBB-3726-4DC59A57734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3" name="Body Text">
            <a:extLst>
              <a:ext uri="{FF2B5EF4-FFF2-40B4-BE49-F238E27FC236}">
                <a16:creationId xmlns:a16="http://schemas.microsoft.com/office/drawing/2014/main" id="{C28A47CA-3763-85C4-C933-D2F62FFB20A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9762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DA1175B-4997-AD46-A66F-AD54249B30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E7ED1B1-2133-504B-8BC5-FCD9399E99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54440BB0-874B-1C48-9D14-D93811C53E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1" name="Name &amp; Surname">
            <a:extLst>
              <a:ext uri="{FF2B5EF4-FFF2-40B4-BE49-F238E27FC236}">
                <a16:creationId xmlns:a16="http://schemas.microsoft.com/office/drawing/2014/main" id="{D33C7042-0669-6148-9FAC-1EA8D47DBC3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9F5F042-B335-3A4E-8342-1F0AFC60A3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0002E01B-5919-1E48-8DB8-F4682B5973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cube Logo">
            <a:extLst>
              <a:ext uri="{FF2B5EF4-FFF2-40B4-BE49-F238E27FC236}">
                <a16:creationId xmlns:a16="http://schemas.microsoft.com/office/drawing/2014/main" id="{6239E6B2-39D4-6948-B6F9-CFE0B3566DA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289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1087D9-F0F6-C895-0299-18BA5AE4D2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0161" y="1366153"/>
            <a:ext cx="2133800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4D98E4F-19CC-A1A6-7663-3089531D65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A4B347B6-3A82-3AC2-864B-EB512C2D8F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C6611997-54C5-6B87-858A-DFE22A9ECB4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EC5C3E68-D584-21B6-4B21-2A05B5C601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7FD4EBC2-5816-21BE-479D-5F82B75024E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54748D3-698C-84EA-2EF1-78272F13090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92667B3A-35FA-E008-FA32-0053746B30D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4A054557-76B5-2371-D87B-C19391139E3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1E5A92C-CDFC-572F-7F61-E98329CD4A2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7D21B69A-E35A-CBF5-C16D-8E3C2AA837A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63D08A8D-E78B-1AA6-03A4-114E0B9C5EF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7255E978-E783-9201-2D84-F6D7F963EDD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BCDED6F5-1D6A-02AC-F0DA-921B227BE20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39F1054F-EFDC-6754-D8B8-C4715EAF71C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07D3B733-CC4C-192E-4072-6E2332F22C9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7638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800097F-793A-A8DD-23CD-E85E56C9DF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5497173D-CC38-B96D-A0F3-8EDEA9494E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75831230-61E5-66E5-16D8-2064453203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30C9D29D-E415-8E19-7A25-8C59E4AA4B5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C5754ACC-708A-22BA-D48B-CC49B2007A2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0205775-38D4-FE35-EEA0-8C81EE9399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FFA15769-525D-2C04-B873-5FC6C886028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A11F21FA-6969-7AAE-37BA-8F52DADE0B5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B0ADFB59-55B1-71FD-A662-9E8571C0181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F1BD6364-5BE9-4F02-B90E-2AD80283361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6E9784CB-5420-4B46-2EB6-4875D69C461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95F38C3F-77E9-47F1-309B-982253573D9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2394D9DC-5A74-F59A-923F-9126E094CB1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98C7A80D-3A82-7597-22B0-492161981A3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6BC137E1-6F3A-6BF7-1FD5-B4B93BD05B4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2F925196-A322-2E1A-3E6F-45D39B5C3BB3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1133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81A921E9-43B1-A64F-B9DA-CFC5BD8374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bg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C618A1B2-2685-2048-BFE2-B6555CC8C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accent1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705B96A-8D3B-C44A-9078-413E003332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9" name="Picture 18" descr="McGraw Hill Logo">
            <a:extLst>
              <a:ext uri="{FF2B5EF4-FFF2-40B4-BE49-F238E27FC236}">
                <a16:creationId xmlns:a16="http://schemas.microsoft.com/office/drawing/2014/main" id="{AC15184A-376C-3847-A9F0-FFA9008CF0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181" y="1452056"/>
            <a:ext cx="703182" cy="703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96656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pic>
        <p:nvPicPr>
          <p:cNvPr id="2" name="Picture 1" descr="McGraw Hill red cube Logo">
            <a:extLst>
              <a:ext uri="{FF2B5EF4-FFF2-40B4-BE49-F238E27FC236}">
                <a16:creationId xmlns:a16="http://schemas.microsoft.com/office/drawing/2014/main" id="{05BB067E-F917-E8BD-9D12-40D966FC8BD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55242E1-DCE5-2EB8-B85C-B0537FD5A3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rgbClr val="E5E5E5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985509E-727A-DB39-85F7-3F93DAE3AC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7" name="Name">
            <a:extLst>
              <a:ext uri="{FF2B5EF4-FFF2-40B4-BE49-F238E27FC236}">
                <a16:creationId xmlns:a16="http://schemas.microsoft.com/office/drawing/2014/main" id="{B3932FF3-249E-EB90-D795-2F6A1349C6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8" name="Email">
            <a:extLst>
              <a:ext uri="{FF2B5EF4-FFF2-40B4-BE49-F238E27FC236}">
                <a16:creationId xmlns:a16="http://schemas.microsoft.com/office/drawing/2014/main" id="{BF70833C-2796-3AB6-9BDB-FA16B94E58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Phone">
            <a:extLst>
              <a:ext uri="{FF2B5EF4-FFF2-40B4-BE49-F238E27FC236}">
                <a16:creationId xmlns:a16="http://schemas.microsoft.com/office/drawing/2014/main" id="{BFF0DF67-2A6C-A225-F335-0B98168B1D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Linkedin">
            <a:extLst>
              <a:ext uri="{FF2B5EF4-FFF2-40B4-BE49-F238E27FC236}">
                <a16:creationId xmlns:a16="http://schemas.microsoft.com/office/drawing/2014/main" id="{2D8D486A-9449-ED06-5819-BBBCDF3211D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17" name="Website">
            <a:extLst>
              <a:ext uri="{FF2B5EF4-FFF2-40B4-BE49-F238E27FC236}">
                <a16:creationId xmlns:a16="http://schemas.microsoft.com/office/drawing/2014/main" id="{4927CA2F-2EA3-213C-D292-F5B4AE6676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EC1E8E5-D8DC-FDDF-BD53-917C9FAF80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017" y="498906"/>
            <a:ext cx="12183602" cy="5878123"/>
            <a:chOff x="-1017" y="498906"/>
            <a:chExt cx="12183602" cy="5878123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765A5F66-5E25-B280-EB1F-6834BB89D6F8}"/>
                </a:ext>
              </a:extLst>
            </p:cNvPr>
            <p:cNvGrpSpPr/>
            <p:nvPr userDrawn="1"/>
          </p:nvGrpSpPr>
          <p:grpSpPr>
            <a:xfrm>
              <a:off x="-1017" y="1611038"/>
              <a:ext cx="12183602" cy="4765991"/>
              <a:chOff x="-1017" y="1611038"/>
              <a:chExt cx="12183602" cy="4765991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5BCAE2CE-F803-94F4-321E-48A104EF871E}"/>
                  </a:ext>
                </a:extLst>
              </p:cNvPr>
              <p:cNvSpPr/>
              <p:nvPr/>
            </p:nvSpPr>
            <p:spPr>
              <a:xfrm rot="16200000">
                <a:off x="8777293" y="3412639"/>
                <a:ext cx="156191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34880DFC-4EC1-8246-F7DC-1D4B2510253E}"/>
                  </a:ext>
                </a:extLst>
              </p:cNvPr>
              <p:cNvSpPr/>
              <p:nvPr userDrawn="1"/>
            </p:nvSpPr>
            <p:spPr>
              <a:xfrm rot="16200000">
                <a:off x="8952361" y="3354283"/>
                <a:ext cx="1445206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670E976F-0B73-8642-8D66-3192EE5E2971}"/>
                  </a:ext>
                </a:extLst>
              </p:cNvPr>
              <p:cNvSpPr/>
              <p:nvPr/>
            </p:nvSpPr>
            <p:spPr>
              <a:xfrm rot="18900000">
                <a:off x="9095325" y="1611038"/>
                <a:ext cx="301327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EB55618A-0F56-ABC2-6022-E7A09006C2A0}"/>
                  </a:ext>
                </a:extLst>
              </p:cNvPr>
              <p:cNvSpPr/>
              <p:nvPr userDrawn="1"/>
            </p:nvSpPr>
            <p:spPr>
              <a:xfrm rot="18900000">
                <a:off x="9227663" y="1672933"/>
                <a:ext cx="2954922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455FB624-603C-81DE-1680-A1AC7F28B789}"/>
                  </a:ext>
                </a:extLst>
              </p:cNvPr>
              <p:cNvSpPr/>
              <p:nvPr/>
            </p:nvSpPr>
            <p:spPr>
              <a:xfrm>
                <a:off x="-1017" y="6143607"/>
                <a:ext cx="1172392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9CADDAF0-1E2C-CAAD-D609-57143A2BE340}"/>
                  </a:ext>
                </a:extLst>
              </p:cNvPr>
              <p:cNvSpPr/>
              <p:nvPr userDrawn="1"/>
            </p:nvSpPr>
            <p:spPr>
              <a:xfrm>
                <a:off x="-1017" y="6260318"/>
                <a:ext cx="1184210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2E89F197-7220-6CA2-951C-442E614E7E7F}"/>
                  </a:ext>
                </a:extLst>
              </p:cNvPr>
              <p:cNvSpPr/>
              <p:nvPr/>
            </p:nvSpPr>
            <p:spPr>
              <a:xfrm rot="16200000">
                <a:off x="10610640" y="5133287"/>
                <a:ext cx="2112803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165604F5-5C2B-4F57-46AB-4FEA640C8A6B}"/>
                  </a:ext>
                </a:extLst>
              </p:cNvPr>
              <p:cNvSpPr/>
              <p:nvPr userDrawn="1"/>
            </p:nvSpPr>
            <p:spPr>
              <a:xfrm rot="16200000">
                <a:off x="10604504" y="5139423"/>
                <a:ext cx="2358498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33A3CB74-6A04-282E-E053-0112A8787B51}"/>
                  </a:ext>
                </a:extLst>
              </p:cNvPr>
              <p:cNvSpPr/>
              <p:nvPr/>
            </p:nvSpPr>
            <p:spPr>
              <a:xfrm rot="10800000">
                <a:off x="9509673" y="4135243"/>
                <a:ext cx="221323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FF1ED3F-1A2C-7A34-0E50-882423C3575C}"/>
                  </a:ext>
                </a:extLst>
              </p:cNvPr>
              <p:cNvSpPr/>
              <p:nvPr userDrawn="1"/>
            </p:nvSpPr>
            <p:spPr>
              <a:xfrm rot="10800000">
                <a:off x="9616608" y="4018531"/>
                <a:ext cx="221323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AEC21F6E-1B49-15C9-3067-6506810CF18E}"/>
                </a:ext>
              </a:extLst>
            </p:cNvPr>
            <p:cNvGrpSpPr/>
            <p:nvPr userDrawn="1"/>
          </p:nvGrpSpPr>
          <p:grpSpPr>
            <a:xfrm>
              <a:off x="10912844" y="498906"/>
              <a:ext cx="932229" cy="932361"/>
              <a:chOff x="10912844" y="498906"/>
              <a:chExt cx="932229" cy="932361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A3FE3FBF-B9B5-3345-FB8A-5D679920FAAD}"/>
                  </a:ext>
                </a:extLst>
              </p:cNvPr>
              <p:cNvGrpSpPr/>
              <p:nvPr userDrawn="1"/>
            </p:nvGrpSpPr>
            <p:grpSpPr>
              <a:xfrm>
                <a:off x="10915811" y="498906"/>
                <a:ext cx="929262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25" name="Parallelogram 24">
                  <a:extLst>
                    <a:ext uri="{FF2B5EF4-FFF2-40B4-BE49-F238E27FC236}">
                      <a16:creationId xmlns:a16="http://schemas.microsoft.com/office/drawing/2014/main" id="{9E71666D-27CF-390C-D2B0-93CFD70E6A98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6" name="Parallelogram 25">
                  <a:extLst>
                    <a:ext uri="{FF2B5EF4-FFF2-40B4-BE49-F238E27FC236}">
                      <a16:creationId xmlns:a16="http://schemas.microsoft.com/office/drawing/2014/main" id="{E4FB9DA5-DA53-7DCF-98B0-A41937BCF88A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C47A0052-7CE6-B332-92D9-706143747E84}"/>
                  </a:ext>
                </a:extLst>
              </p:cNvPr>
              <p:cNvGrpSpPr/>
              <p:nvPr userDrawn="1"/>
            </p:nvGrpSpPr>
            <p:grpSpPr>
              <a:xfrm>
                <a:off x="10912844" y="609246"/>
                <a:ext cx="823347" cy="822021"/>
                <a:chOff x="3966636" y="2277354"/>
                <a:chExt cx="823347" cy="822021"/>
              </a:xfrm>
              <a:solidFill>
                <a:srgbClr val="E21A23"/>
              </a:solidFill>
            </p:grpSpPr>
            <p:sp>
              <p:nvSpPr>
                <p:cNvPr id="23" name="Parallelogram 61">
                  <a:extLst>
                    <a:ext uri="{FF2B5EF4-FFF2-40B4-BE49-F238E27FC236}">
                      <a16:creationId xmlns:a16="http://schemas.microsoft.com/office/drawing/2014/main" id="{0154C05D-843E-009C-BA23-5FF468F8D6EB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4" name="Parallelogram 61">
                  <a:extLst>
                    <a:ext uri="{FF2B5EF4-FFF2-40B4-BE49-F238E27FC236}">
                      <a16:creationId xmlns:a16="http://schemas.microsoft.com/office/drawing/2014/main" id="{0174978C-06F2-A759-62F0-4F7C4F794660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372543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EDE3686-DB2A-E63C-9903-A8244C6A11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bg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C618A1B2-2685-2048-BFE2-B6555CC8C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accent1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705B96A-8D3B-C44A-9078-413E003332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 descr="McGraw Hill red cube Logo">
            <a:extLst>
              <a:ext uri="{FF2B5EF4-FFF2-40B4-BE49-F238E27FC236}">
                <a16:creationId xmlns:a16="http://schemas.microsoft.com/office/drawing/2014/main" id="{F0D525F2-F9A7-7A73-4B30-ACE22BC64B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155580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CA2A2D41-DD4C-5142-BB67-1F26B8A758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C8647846-01CE-514B-90CE-D4C484DE0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15" descr="McGraw Hill red cube Logo">
            <a:extLst>
              <a:ext uri="{FF2B5EF4-FFF2-40B4-BE49-F238E27FC236}">
                <a16:creationId xmlns:a16="http://schemas.microsoft.com/office/drawing/2014/main" id="{B4836203-0CB8-F644-8793-692AE7EC3A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88556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9255815" y="757008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B06EC3-1936-BF49-B989-AE8ADD2313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E3F328E6-25F0-BD44-A497-CAA2D0BA73D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B12A726-D813-1B48-A198-EE44A52DA9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0" name="Column 1">
            <a:extLst>
              <a:ext uri="{FF2B5EF4-FFF2-40B4-BE49-F238E27FC236}">
                <a16:creationId xmlns:a16="http://schemas.microsoft.com/office/drawing/2014/main" id="{A6CC86E6-0270-1A46-AD68-EA5815E015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7" name="Column 2">
            <a:extLst>
              <a:ext uri="{FF2B5EF4-FFF2-40B4-BE49-F238E27FC236}">
                <a16:creationId xmlns:a16="http://schemas.microsoft.com/office/drawing/2014/main" id="{1658EE3A-E60D-054C-BC6C-D3AC430DED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9622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userDrawn="1">
          <p15:clr>
            <a:srgbClr val="FBAE40"/>
          </p15:clr>
        </p15:guide>
        <p15:guide id="7" pos="483" userDrawn="1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66A961-BB2B-B54F-BFAB-BDA9367AED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32427A80-5FB3-1A49-8DC5-A073AD2F5B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19BD590-2BD8-1345-96AC-71997DB3DC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4" name="Body Text">
            <a:extLst>
              <a:ext uri="{FF2B5EF4-FFF2-40B4-BE49-F238E27FC236}">
                <a16:creationId xmlns:a16="http://schemas.microsoft.com/office/drawing/2014/main" id="{304C3CA5-856F-2F4D-9D50-08DD3F11F8B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1" name="Column 1">
            <a:extLst>
              <a:ext uri="{FF2B5EF4-FFF2-40B4-BE49-F238E27FC236}">
                <a16:creationId xmlns:a16="http://schemas.microsoft.com/office/drawing/2014/main" id="{09D023D1-AA6B-9646-A78E-0089EAAEBF9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0" name="Column 2">
            <a:extLst>
              <a:ext uri="{FF2B5EF4-FFF2-40B4-BE49-F238E27FC236}">
                <a16:creationId xmlns:a16="http://schemas.microsoft.com/office/drawing/2014/main" id="{A028DF26-A643-9E46-88A5-7D66AB1A21F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0BC10B7E-FB9A-3449-BA9D-B470A0390DF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356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24" userDrawn="1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2 – Text Heavy / Portrai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BFB1D6C-A7E9-F346-8A13-0BCB15719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D679B90A-4AB2-E64F-865B-31FA7A647B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F695EBD-4DD2-D94C-8FE6-3BC8F009DD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53D7C1F0-4FF6-6146-83A3-619E9E7425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8D628D98-2995-2549-8BEB-B242D876BA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89F8ED53-76E5-D34E-AF57-48AB3FD450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CC836EA3-0289-2F4F-9CCE-4C8FA98EA37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7077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91159E-FB61-BD47-87D0-43DD404B05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0EC23C69-26E3-854A-8AEA-45792C9D8A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3E7B488B-7F58-E041-8E34-0A5108AC4422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950784B-C4DC-1048-8DB0-FBA0B7ED9C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3C493DB4-6E5A-0A49-B823-5D376D9C9E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8328127D-150E-B44E-BC89-0FD65043CC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6906905-9636-614B-830C-DF2EEB425E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9F580762-E4FC-D041-AD65-42DCA22C0A8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2833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Display Date">
            <a:extLst>
              <a:ext uri="{FF2B5EF4-FFF2-40B4-BE49-F238E27FC236}">
                <a16:creationId xmlns:a16="http://schemas.microsoft.com/office/drawing/2014/main" id="{21B27012-3D0D-FB4F-BBD6-DB9D89F837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2" name="Name &amp; Surname">
            <a:extLst>
              <a:ext uri="{FF2B5EF4-FFF2-40B4-BE49-F238E27FC236}">
                <a16:creationId xmlns:a16="http://schemas.microsoft.com/office/drawing/2014/main" id="{F4DD2720-7DE1-9C4E-8E6F-F5ED11239F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251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B2C9B86-2BA7-2C49-9B52-F95410DF70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305E351-B915-BD4D-A104-CE8A78E877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46F47BCD-2606-6446-B953-7EA51944FC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9889367-1837-7547-8ADE-81B76555895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1670CB5-F520-4F4E-9416-10F61C1776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B923205D-6211-744A-A7D6-56BDC2958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22814ED1-29B4-164D-A3B2-0C0FCADE43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97E1AD9F-2EE3-7442-9BF2-6F9AFDC280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78965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93E3DBC-5438-6E46-92A8-F6F9A5B2B2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BA38B5C-C304-CF4C-9CE1-7646337157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9E4B0D1D-604E-5845-A559-76143769A4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B370684-59CB-9D48-9E3B-4A19CF85F57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BEA7924-9977-A944-8820-5611CD6A1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E9167E63-18F2-B54A-93ED-51E4F364ED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9D45D5EF-D30C-1D4E-8C2E-CA2D9F7AD4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364274DE-F93B-234F-80D3-BADE92110F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901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50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 – Text Heavy / Arrow - L. H.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>
            <a:extLst>
              <a:ext uri="{FF2B5EF4-FFF2-40B4-BE49-F238E27FC236}">
                <a16:creationId xmlns:a16="http://schemas.microsoft.com/office/drawing/2014/main" id="{5177BBD6-89E5-8A4C-A618-63E9F5266B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5031"/>
            <a:ext cx="11908923" cy="5164009"/>
            <a:chOff x="-13447" y="1205031"/>
            <a:chExt cx="11908923" cy="5164009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8A07E183-013B-4343-998D-88050E602673}"/>
                </a:ext>
              </a:extLst>
            </p:cNvPr>
            <p:cNvGrpSpPr/>
            <p:nvPr userDrawn="1"/>
          </p:nvGrpSpPr>
          <p:grpSpPr>
            <a:xfrm>
              <a:off x="10799406" y="1609994"/>
              <a:ext cx="1096070" cy="200297"/>
              <a:chOff x="10799406" y="1609994"/>
              <a:chExt cx="1096070" cy="200297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128CCC9-E183-EB47-863F-66E818DAF996}"/>
                  </a:ext>
                </a:extLst>
              </p:cNvPr>
              <p:cNvSpPr/>
              <p:nvPr userDrawn="1"/>
            </p:nvSpPr>
            <p:spPr>
              <a:xfrm rot="18900000">
                <a:off x="10799406" y="1609994"/>
                <a:ext cx="1013101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BE3AC1E5-E15F-2140-9827-AA174AFAE02C}"/>
                  </a:ext>
                </a:extLst>
              </p:cNvPr>
              <p:cNvSpPr/>
              <p:nvPr userDrawn="1"/>
            </p:nvSpPr>
            <p:spPr>
              <a:xfrm rot="18900000">
                <a:off x="10879377" y="1693580"/>
                <a:ext cx="101609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0780782-1930-9744-964A-B91E28E603A0}"/>
                </a:ext>
              </a:extLst>
            </p:cNvPr>
            <p:cNvGrpSpPr/>
            <p:nvPr userDrawn="1"/>
          </p:nvGrpSpPr>
          <p:grpSpPr>
            <a:xfrm>
              <a:off x="10894136" y="1205031"/>
              <a:ext cx="940179" cy="935947"/>
              <a:chOff x="10894136" y="1205031"/>
              <a:chExt cx="940179" cy="935947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45EC1281-6FEB-A14E-8D42-5C0399A71E23}"/>
                  </a:ext>
                </a:extLst>
              </p:cNvPr>
              <p:cNvGrpSpPr/>
              <p:nvPr userDrawn="1"/>
            </p:nvGrpSpPr>
            <p:grpSpPr>
              <a:xfrm>
                <a:off x="10896080" y="1205031"/>
                <a:ext cx="938235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7" name="Parallelogram 46">
                  <a:extLst>
                    <a:ext uri="{FF2B5EF4-FFF2-40B4-BE49-F238E27FC236}">
                      <a16:creationId xmlns:a16="http://schemas.microsoft.com/office/drawing/2014/main" id="{7D96E391-66F0-0645-9D24-AEA901FA1B2B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8" name="Parallelogram 47">
                  <a:extLst>
                    <a:ext uri="{FF2B5EF4-FFF2-40B4-BE49-F238E27FC236}">
                      <a16:creationId xmlns:a16="http://schemas.microsoft.com/office/drawing/2014/main" id="{0B1B1425-47C9-7C46-926A-21890752B4C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5195C950-E43E-BE48-8808-D0948E9FAB67}"/>
                  </a:ext>
                </a:extLst>
              </p:cNvPr>
              <p:cNvGrpSpPr/>
              <p:nvPr userDrawn="1"/>
            </p:nvGrpSpPr>
            <p:grpSpPr>
              <a:xfrm>
                <a:off x="10894136" y="1318957"/>
                <a:ext cx="831297" cy="822021"/>
                <a:chOff x="3966636" y="2277354"/>
                <a:chExt cx="823347" cy="822021"/>
              </a:xfrm>
              <a:solidFill>
                <a:srgbClr val="06235B"/>
              </a:solidFill>
            </p:grpSpPr>
            <p:sp>
              <p:nvSpPr>
                <p:cNvPr id="45" name="Parallelogram 61">
                  <a:extLst>
                    <a:ext uri="{FF2B5EF4-FFF2-40B4-BE49-F238E27FC236}">
                      <a16:creationId xmlns:a16="http://schemas.microsoft.com/office/drawing/2014/main" id="{9DCC372B-6B4D-924C-A629-07FA51756A14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6" name="Parallelogram 61">
                  <a:extLst>
                    <a:ext uri="{FF2B5EF4-FFF2-40B4-BE49-F238E27FC236}">
                      <a16:creationId xmlns:a16="http://schemas.microsoft.com/office/drawing/2014/main" id="{C32C7223-D73E-5F40-B470-48EB281F38CE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B25C319-2990-5F44-9E6C-9230EDFA1D64}"/>
                </a:ext>
              </a:extLst>
            </p:cNvPr>
            <p:cNvGrpSpPr/>
            <p:nvPr userDrawn="1"/>
          </p:nvGrpSpPr>
          <p:grpSpPr>
            <a:xfrm>
              <a:off x="-13447" y="6149065"/>
              <a:ext cx="11072003" cy="219975"/>
              <a:chOff x="-13447" y="6149065"/>
              <a:chExt cx="11072003" cy="219975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05832D2A-E5F4-3147-B1F2-0F66239A3AFE}"/>
                  </a:ext>
                </a:extLst>
              </p:cNvPr>
              <p:cNvSpPr/>
              <p:nvPr userDrawn="1"/>
            </p:nvSpPr>
            <p:spPr>
              <a:xfrm>
                <a:off x="-13446" y="6149065"/>
                <a:ext cx="1102110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71BE06FC-1F60-7648-8CD3-2993C5D1A6AB}"/>
                  </a:ext>
                </a:extLst>
              </p:cNvPr>
              <p:cNvSpPr/>
              <p:nvPr userDrawn="1"/>
            </p:nvSpPr>
            <p:spPr>
              <a:xfrm>
                <a:off x="-13447" y="6252329"/>
                <a:ext cx="11072003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E7E466A8-3EE2-8347-9B9C-FE56409F0248}"/>
                </a:ext>
              </a:extLst>
            </p:cNvPr>
            <p:cNvGrpSpPr/>
            <p:nvPr userDrawn="1"/>
          </p:nvGrpSpPr>
          <p:grpSpPr>
            <a:xfrm>
              <a:off x="10905626" y="1984376"/>
              <a:ext cx="221104" cy="4371214"/>
              <a:chOff x="10905626" y="1984376"/>
              <a:chExt cx="221104" cy="4371214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B74D01D-AF7D-F546-9D97-25EB36CB7AB2}"/>
                  </a:ext>
                </a:extLst>
              </p:cNvPr>
              <p:cNvSpPr/>
              <p:nvPr userDrawn="1"/>
            </p:nvSpPr>
            <p:spPr>
              <a:xfrm rot="16200000">
                <a:off x="8837278" y="4052724"/>
                <a:ext cx="4254534" cy="11783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FDE4EF2A-625F-DE47-B16E-96317A6EF3C6}"/>
                  </a:ext>
                </a:extLst>
              </p:cNvPr>
              <p:cNvSpPr/>
              <p:nvPr userDrawn="1"/>
            </p:nvSpPr>
            <p:spPr>
              <a:xfrm rot="16200000">
                <a:off x="8907603" y="4136464"/>
                <a:ext cx="4320415" cy="117838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99DEEC-FB65-6B40-99C0-B38B502ABA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8" name="Chapter Title">
            <a:extLst>
              <a:ext uri="{FF2B5EF4-FFF2-40B4-BE49-F238E27FC236}">
                <a16:creationId xmlns:a16="http://schemas.microsoft.com/office/drawing/2014/main" id="{43C2F540-BC4F-4F4B-A13F-64EFF4C3B6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9" name="Pg">
            <a:extLst>
              <a:ext uri="{FF2B5EF4-FFF2-40B4-BE49-F238E27FC236}">
                <a16:creationId xmlns:a16="http://schemas.microsoft.com/office/drawing/2014/main" id="{A8099171-5756-5C41-97AC-1AFF8DDD9B6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CE4F8156-A223-6D49-A819-DDA0DC712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6" name="Column 1">
            <a:extLst>
              <a:ext uri="{FF2B5EF4-FFF2-40B4-BE49-F238E27FC236}">
                <a16:creationId xmlns:a16="http://schemas.microsoft.com/office/drawing/2014/main" id="{D0E48077-2819-8A49-A05C-6703D2804F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30" name="Column 2">
            <a:extLst>
              <a:ext uri="{FF2B5EF4-FFF2-40B4-BE49-F238E27FC236}">
                <a16:creationId xmlns:a16="http://schemas.microsoft.com/office/drawing/2014/main" id="{92FCC806-979D-BB45-BD58-D2DFE35FAE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18567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 – Text Heavy / Arrow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7F32332A-D1E5-0344-8F4A-15782F24E2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1205032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D639499-1066-AF40-AE90-26A09D51A0A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941F98C-5BFA-6740-9613-30D0EA32ABE5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82A5495-6A16-7E4F-A10F-15796EDFE106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18" name="Parallelogram 17">
                <a:extLst>
                  <a:ext uri="{FF2B5EF4-FFF2-40B4-BE49-F238E27FC236}">
                    <a16:creationId xmlns:a16="http://schemas.microsoft.com/office/drawing/2014/main" id="{621988DE-95DC-EE45-B046-15D64BBAD7B4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8C4E5648-7B44-9343-B639-CE2FCAA69CE2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6DBC325-AACD-E348-B1CE-AA37A6B0B9C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360358-6D06-CC44-8D16-DB5DC58495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7C7FF68D-EE65-2F48-93AE-190A7B1020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74E3B440-1518-AF4D-8F84-A9675B04F0A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612D239-8581-4C4B-90B8-B54512088E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599A04D7-A149-394C-B40F-92490463FE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5F1C930-B750-C841-B8C0-548499F4AF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4070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200" userDrawn="1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 – Text Heav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4959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Pie Chart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6648C4D-D816-204A-B723-761FDB2941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53281EAB-F476-BB40-9FAD-E65D90D2C3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7390110-5AD8-874C-AE1F-E0FB2ECFB94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C5A7534-3DAA-9741-9B2A-18B0C4851A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12A4A311-C970-5B47-B8B4-279475D834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552" y="2064520"/>
            <a:ext cx="4222331" cy="3434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Chart Heading Title Case</a:t>
            </a:r>
          </a:p>
          <a:p>
            <a:pPr lvl="0"/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94A1DD1E-0FD4-334D-AC0E-B10F7CCB6E2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2595" y="2898212"/>
            <a:ext cx="4603750" cy="345146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</a:t>
            </a:r>
            <a:r>
              <a:rPr lang="en-US"/>
              <a:t> </a:t>
            </a:r>
            <a:r>
              <a:rPr lang="en-US" err="1"/>
              <a:t>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.</a:t>
            </a:r>
          </a:p>
          <a:p>
            <a:pPr lvl="0"/>
            <a:r>
              <a:rPr lang="en-US" err="1"/>
              <a:t>Elitsed</a:t>
            </a:r>
            <a:r>
              <a:rPr lang="en-US"/>
              <a:t> diam </a:t>
            </a:r>
            <a:r>
              <a:rPr lang="en-US" err="1"/>
              <a:t>nonumm</a:t>
            </a:r>
            <a:r>
              <a:rPr lang="en-US"/>
              <a:t> </a:t>
            </a:r>
            <a:r>
              <a:rPr lang="en-US" err="1"/>
              <a:t>y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</a:t>
            </a:r>
            <a:r>
              <a:rPr lang="en-US"/>
              <a:t> </a:t>
            </a:r>
            <a:r>
              <a:rPr lang="en-US" err="1"/>
              <a:t>ter</a:t>
            </a:r>
            <a:r>
              <a:rPr lang="en-US"/>
              <a:t> pat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</a:t>
            </a:r>
            <a:r>
              <a:rPr lang="en-US"/>
              <a:t> </a:t>
            </a:r>
            <a:r>
              <a:rPr lang="en-US" err="1"/>
              <a:t>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301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152" userDrawn="1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Line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0979F1B-0C1D-4D46-9688-E70042C91F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9" name="Chapter Title">
            <a:extLst>
              <a:ext uri="{FF2B5EF4-FFF2-40B4-BE49-F238E27FC236}">
                <a16:creationId xmlns:a16="http://schemas.microsoft.com/office/drawing/2014/main" id="{B60AC181-A0E8-C848-B86F-709FE51408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C5E5542-63AF-264A-9B02-20F2AE5C86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3" y="1042826"/>
            <a:ext cx="4290529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8804494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Snake Diagr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F873E0C-0627-D042-9703-1082CC31C9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442212F1-2279-1344-BAF9-2D55C3372D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2EAAC9DE-6713-2148-84D1-A07827E478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8AE632E4-8081-4C4C-93AA-8BA65412F7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2522" y="3249621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9" name="Column 1">
            <a:extLst>
              <a:ext uri="{FF2B5EF4-FFF2-40B4-BE49-F238E27FC236}">
                <a16:creationId xmlns:a16="http://schemas.microsoft.com/office/drawing/2014/main" id="{F485FDB3-B021-C94D-B1BF-23D048DEBF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7994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0" name="Subtitle 2">
            <a:extLst>
              <a:ext uri="{FF2B5EF4-FFF2-40B4-BE49-F238E27FC236}">
                <a16:creationId xmlns:a16="http://schemas.microsoft.com/office/drawing/2014/main" id="{736B6D3D-9619-D84B-95A2-F3E1C1AC6D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97417" y="3237429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1" name="Column 2">
            <a:extLst>
              <a:ext uri="{FF2B5EF4-FFF2-40B4-BE49-F238E27FC236}">
                <a16:creationId xmlns:a16="http://schemas.microsoft.com/office/drawing/2014/main" id="{33CFB3D8-4385-F845-A13A-64C1CF8639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32889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4" name="Subtitle 3">
            <a:extLst>
              <a:ext uri="{FF2B5EF4-FFF2-40B4-BE49-F238E27FC236}">
                <a16:creationId xmlns:a16="http://schemas.microsoft.com/office/drawing/2014/main" id="{BE099D4A-DC27-5241-986A-5206F128171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87928" y="3237763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5" name="Column 3">
            <a:extLst>
              <a:ext uri="{FF2B5EF4-FFF2-40B4-BE49-F238E27FC236}">
                <a16:creationId xmlns:a16="http://schemas.microsoft.com/office/drawing/2014/main" id="{3FB1514F-7252-9A47-9F31-9DF3A0FDA3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23400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6" name="Subtitle 4">
            <a:extLst>
              <a:ext uri="{FF2B5EF4-FFF2-40B4-BE49-F238E27FC236}">
                <a16:creationId xmlns:a16="http://schemas.microsoft.com/office/drawing/2014/main" id="{36EF0826-D37B-ED42-A4D1-0E9D953AC1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78439" y="3237429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7" name="Column 4">
            <a:extLst>
              <a:ext uri="{FF2B5EF4-FFF2-40B4-BE49-F238E27FC236}">
                <a16:creationId xmlns:a16="http://schemas.microsoft.com/office/drawing/2014/main" id="{CB5A08EF-59FA-A34E-A79B-E69C2515DB8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13911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8171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Double Snake Diagr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010714B-F67D-BB4E-BD72-F5575995A6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355C42A9-CCA2-A241-8EFB-F2646A8476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8F93229-4B98-4D48-95A2-B2901D647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49" name="1">
            <a:extLst>
              <a:ext uri="{FF2B5EF4-FFF2-40B4-BE49-F238E27FC236}">
                <a16:creationId xmlns:a16="http://schemas.microsoft.com/office/drawing/2014/main" id="{F485FDB3-B021-C94D-B1BF-23D048DEBF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4462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6" name="2">
            <a:extLst>
              <a:ext uri="{FF2B5EF4-FFF2-40B4-BE49-F238E27FC236}">
                <a16:creationId xmlns:a16="http://schemas.microsoft.com/office/drawing/2014/main" id="{D17D20DF-7F50-7847-AA55-BE4484E3669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2219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7" name="3">
            <a:extLst>
              <a:ext uri="{FF2B5EF4-FFF2-40B4-BE49-F238E27FC236}">
                <a16:creationId xmlns:a16="http://schemas.microsoft.com/office/drawing/2014/main" id="{FEED5375-BE04-DD48-860C-ADC9A4187C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89976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8" name="4">
            <a:extLst>
              <a:ext uri="{FF2B5EF4-FFF2-40B4-BE49-F238E27FC236}">
                <a16:creationId xmlns:a16="http://schemas.microsoft.com/office/drawing/2014/main" id="{D3C9ED7B-28DB-214B-B183-0B2D936B682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37733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9" name="5">
            <a:extLst>
              <a:ext uri="{FF2B5EF4-FFF2-40B4-BE49-F238E27FC236}">
                <a16:creationId xmlns:a16="http://schemas.microsoft.com/office/drawing/2014/main" id="{836F4DC2-D0EF-D54B-863B-E592B01A8A9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94462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0" name="6">
            <a:extLst>
              <a:ext uri="{FF2B5EF4-FFF2-40B4-BE49-F238E27FC236}">
                <a16:creationId xmlns:a16="http://schemas.microsoft.com/office/drawing/2014/main" id="{AF98966C-9920-C44A-A83D-2612A077A86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42219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1" name="7">
            <a:extLst>
              <a:ext uri="{FF2B5EF4-FFF2-40B4-BE49-F238E27FC236}">
                <a16:creationId xmlns:a16="http://schemas.microsoft.com/office/drawing/2014/main" id="{D1984EE8-D54B-A744-A37B-DEBCFC6007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789976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2" name="8">
            <a:extLst>
              <a:ext uri="{FF2B5EF4-FFF2-40B4-BE49-F238E27FC236}">
                <a16:creationId xmlns:a16="http://schemas.microsoft.com/office/drawing/2014/main" id="{7B40AD15-439C-BA4F-9047-4B8A86FDFB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37733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91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ECD4933-6BE6-E603-C835-4A8D8C7372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Display Date">
            <a:extLst>
              <a:ext uri="{FF2B5EF4-FFF2-40B4-BE49-F238E27FC236}">
                <a16:creationId xmlns:a16="http://schemas.microsoft.com/office/drawing/2014/main" id="{21B27012-3D0D-FB4F-BBD6-DB9D89F837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2" name="Name &amp; Surname">
            <a:extLst>
              <a:ext uri="{FF2B5EF4-FFF2-40B4-BE49-F238E27FC236}">
                <a16:creationId xmlns:a16="http://schemas.microsoft.com/office/drawing/2014/main" id="{F4DD2720-7DE1-9C4E-8E6F-F5ED11239F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150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Graph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7E5B97-5140-1342-B6ED-D224671367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D17B5A40-4A38-5248-B89D-84C868D1FA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F0F2683A-ECA5-9C4E-BF91-067F9FA63B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6" name="1">
            <a:extLst>
              <a:ext uri="{FF2B5EF4-FFF2-40B4-BE49-F238E27FC236}">
                <a16:creationId xmlns:a16="http://schemas.microsoft.com/office/drawing/2014/main" id="{6877937D-3DA9-CD4C-8F73-B4C57F6B89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32054" y="248285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0" name="1 Copy">
            <a:extLst>
              <a:ext uri="{FF2B5EF4-FFF2-40B4-BE49-F238E27FC236}">
                <a16:creationId xmlns:a16="http://schemas.microsoft.com/office/drawing/2014/main" id="{45956B13-ADB8-FB42-9D61-0934942431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968641" y="2440890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4" name="2">
            <a:extLst>
              <a:ext uri="{FF2B5EF4-FFF2-40B4-BE49-F238E27FC236}">
                <a16:creationId xmlns:a16="http://schemas.microsoft.com/office/drawing/2014/main" id="{BEE0936E-7081-7D41-B93D-0E5933D3FD9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49830" y="3075158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1" name="2 Copy">
            <a:extLst>
              <a:ext uri="{FF2B5EF4-FFF2-40B4-BE49-F238E27FC236}">
                <a16:creationId xmlns:a16="http://schemas.microsoft.com/office/drawing/2014/main" id="{DBCBFBE9-4518-D945-963C-3573703678A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68641" y="3038674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5" name="3">
            <a:extLst>
              <a:ext uri="{FF2B5EF4-FFF2-40B4-BE49-F238E27FC236}">
                <a16:creationId xmlns:a16="http://schemas.microsoft.com/office/drawing/2014/main" id="{49567076-20B4-3642-8E2F-792E66F7EF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0470" y="3660178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2" name="3 Copy">
            <a:extLst>
              <a:ext uri="{FF2B5EF4-FFF2-40B4-BE49-F238E27FC236}">
                <a16:creationId xmlns:a16="http://schemas.microsoft.com/office/drawing/2014/main" id="{689E5928-A1E4-6243-A711-E0A1F28C3DC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68641" y="3636458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6" name="4">
            <a:extLst>
              <a:ext uri="{FF2B5EF4-FFF2-40B4-BE49-F238E27FC236}">
                <a16:creationId xmlns:a16="http://schemas.microsoft.com/office/drawing/2014/main" id="{A286B0CE-7439-0843-88F7-DD73DB9034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60586" y="4281061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3" name="4 Copy">
            <a:extLst>
              <a:ext uri="{FF2B5EF4-FFF2-40B4-BE49-F238E27FC236}">
                <a16:creationId xmlns:a16="http://schemas.microsoft.com/office/drawing/2014/main" id="{0CC7A3C0-0C37-154F-9CC8-FF8A82DFE13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68641" y="4234242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7" name="5">
            <a:extLst>
              <a:ext uri="{FF2B5EF4-FFF2-40B4-BE49-F238E27FC236}">
                <a16:creationId xmlns:a16="http://schemas.microsoft.com/office/drawing/2014/main" id="{D35007DD-4D32-744C-9E0C-CC04D81DFF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60586" y="486029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5" name="5 Copy">
            <a:extLst>
              <a:ext uri="{FF2B5EF4-FFF2-40B4-BE49-F238E27FC236}">
                <a16:creationId xmlns:a16="http://schemas.microsoft.com/office/drawing/2014/main" id="{DEE6D165-02D6-C142-9029-62B0DDA96A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968641" y="4832026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8" name="6">
            <a:extLst>
              <a:ext uri="{FF2B5EF4-FFF2-40B4-BE49-F238E27FC236}">
                <a16:creationId xmlns:a16="http://schemas.microsoft.com/office/drawing/2014/main" id="{3F434AC7-9FE2-4945-B806-6357E326DA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57312" y="545465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34" name="6 Copy">
            <a:extLst>
              <a:ext uri="{FF2B5EF4-FFF2-40B4-BE49-F238E27FC236}">
                <a16:creationId xmlns:a16="http://schemas.microsoft.com/office/drawing/2014/main" id="{CD847155-579D-9044-9614-337C9A88263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68641" y="5429810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1209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 – Table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2671B7B-445E-B64B-8114-C3FF49315F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6" name="Chapter Title">
            <a:extLst>
              <a:ext uri="{FF2B5EF4-FFF2-40B4-BE49-F238E27FC236}">
                <a16:creationId xmlns:a16="http://schemas.microsoft.com/office/drawing/2014/main" id="{4F973414-A48D-024D-8D5D-555A01E509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404CC2A3-2ED5-DB4A-A828-ED53650C053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B25ADB5-7546-5143-B79B-78DCA81BF1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842681"/>
            <a:ext cx="10752234" cy="748230"/>
          </a:xfrm>
        </p:spPr>
        <p:txBody>
          <a:bodyPr anchor="b"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3381096E-0A87-A446-B08F-AFD6FBB17D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552" y="1648610"/>
            <a:ext cx="10752236" cy="3434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Chart Heading Title Case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1526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 – Call Out Box / Image / Copy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260F9E-07AF-6041-980F-7BA9115C09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06F7C5-7A97-E444-BFB0-CF29BEA88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6351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19124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ide Basic Content, 1-Line Headlin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EC2ECA2C-6A4B-843C-DB4F-601C52819D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361875D-2FEA-BE95-9218-81D842E52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477129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ECD8F3-B47A-55F4-BAEE-B560FF3716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6131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ECD8F3-B47A-55F4-BAEE-B560FF3716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7BC29FB-1888-7644-9A68-E10411877A79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201A529-5C10-4027-8858-CB3A56EEF3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200D9094-B4FD-4E32-FF5C-1A9521CAD8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D458F59-CF19-9D49-C2AB-3C48D4C196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74AB1EBE-4491-4616-D7DF-4C6FCC615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52310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A98AFB-5A8C-10F9-72B8-8992D01A8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64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DA98AFB-5A8C-10F9-72B8-8992D01A8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3">
            <a:extLst>
              <a:ext uri="{FF2B5EF4-FFF2-40B4-BE49-F238E27FC236}">
                <a16:creationId xmlns:a16="http://schemas.microsoft.com/office/drawing/2014/main" id="{9CE5718B-CC91-F24E-BB58-FE030026A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842" y="315430"/>
            <a:ext cx="11315910" cy="1325563"/>
          </a:xfrm>
        </p:spPr>
        <p:txBody>
          <a:bodyPr vert="horz">
            <a:normAutofit/>
          </a:bodyPr>
          <a:lstStyle>
            <a:lvl1pPr>
              <a:defRPr sz="2800" b="1" i="0">
                <a:latin typeface="Magazine Grotesque Bold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691990FE-98EC-83F9-AA3B-D6E75AAB59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3A5243D-3F4D-5BC4-1C23-56B131C1D11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>
            <a:extLst>
              <a:ext uri="{FF2B5EF4-FFF2-40B4-BE49-F238E27FC236}">
                <a16:creationId xmlns:a16="http://schemas.microsoft.com/office/drawing/2014/main" id="{F4EDB59E-3599-C6C4-D2A0-319F7AB9DB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C595D9C4-58B3-A9CC-9598-24F869DC76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613187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A98AFB-5A8C-10F9-72B8-8992D01A8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64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DA98AFB-5A8C-10F9-72B8-8992D01A8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841" y="1825625"/>
            <a:ext cx="11315911" cy="4351338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Magazine Grotesque" pitchFamily="2" charset="77"/>
              </a:defRPr>
            </a:lvl1pPr>
            <a:lvl2pPr>
              <a:defRPr b="0" i="0">
                <a:latin typeface="Magazine Grotesque" pitchFamily="2" charset="77"/>
              </a:defRPr>
            </a:lvl2pPr>
            <a:lvl3pPr>
              <a:defRPr b="0" i="0">
                <a:latin typeface="Magazine Grotesque" pitchFamily="2" charset="77"/>
              </a:defRPr>
            </a:lvl3pPr>
            <a:lvl4pPr>
              <a:defRPr b="0" i="0">
                <a:latin typeface="Magazine Grotesque" pitchFamily="2" charset="77"/>
              </a:defRPr>
            </a:lvl4pPr>
            <a:lvl5pPr>
              <a:defRPr b="0" i="0">
                <a:latin typeface="Magazine Grotesque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9CE5718B-CC91-F24E-BB58-FE030026A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842" y="315430"/>
            <a:ext cx="11315910" cy="1325563"/>
          </a:xfrm>
        </p:spPr>
        <p:txBody>
          <a:bodyPr vert="horz">
            <a:normAutofit/>
          </a:bodyPr>
          <a:lstStyle>
            <a:lvl1pPr>
              <a:defRPr sz="2800" b="1" i="0">
                <a:latin typeface="Magazine Grotesque Bold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691990FE-98EC-83F9-AA3B-D6E75AAB59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3A5243D-3F4D-5BC4-1C23-56B131C1D11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>
            <a:extLst>
              <a:ext uri="{FF2B5EF4-FFF2-40B4-BE49-F238E27FC236}">
                <a16:creationId xmlns:a16="http://schemas.microsoft.com/office/drawing/2014/main" id="{F4EDB59E-3599-C6C4-D2A0-319F7AB9DB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7121C30A-2478-DD68-AA01-B696BF05B4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097088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ECD8F3-B47A-55F4-BAEE-B560FF3716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697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ECD8F3-B47A-55F4-BAEE-B560FF3716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2285" y="315430"/>
            <a:ext cx="11313466" cy="583142"/>
          </a:xfrm>
        </p:spPr>
        <p:txBody>
          <a:bodyPr vert="horz">
            <a:normAutofit/>
          </a:bodyPr>
          <a:lstStyle>
            <a:lvl1pPr>
              <a:defRPr sz="2800">
                <a:latin typeface="Magazine Grotesque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285" y="1018117"/>
            <a:ext cx="11313466" cy="5158846"/>
          </a:xfrm>
          <a:prstGeom prst="rect">
            <a:avLst/>
          </a:prstGeom>
        </p:spPr>
        <p:txBody>
          <a:bodyPr/>
          <a:lstStyle>
            <a:lvl1pPr>
              <a:defRPr>
                <a:latin typeface="Magazine Grotesque" pitchFamily="2" charset="77"/>
              </a:defRPr>
            </a:lvl1pPr>
            <a:lvl2pPr>
              <a:defRPr>
                <a:latin typeface="Magazine Grotesque" pitchFamily="2" charset="77"/>
              </a:defRPr>
            </a:lvl2pPr>
            <a:lvl3pPr>
              <a:defRPr>
                <a:latin typeface="Magazine Grotesque" pitchFamily="2" charset="77"/>
              </a:defRPr>
            </a:lvl3pPr>
            <a:lvl4pPr>
              <a:defRPr>
                <a:latin typeface="Magazine Grotesque" pitchFamily="2" charset="77"/>
              </a:defRPr>
            </a:lvl4pPr>
            <a:lvl5pPr>
              <a:defRPr>
                <a:latin typeface="Magazine Grotesque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7BC29FB-1888-7644-9A68-E10411877A79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201A529-5C10-4027-8858-CB3A56EEF3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200D9094-B4FD-4E32-FF5C-1A9521CAD8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845EB33-BC40-B541-2DE3-635AE372BC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176740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2D4F08D-BE1E-443D-8782-37662CDDF2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899AE9EF-61EB-ACFA-4820-EBD3F6BBD83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6E05E0AA-A4C4-9006-5021-1A09E19FCA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4058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D3E3721-D71C-242D-9FAB-F7484EE46E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Display Date">
            <a:extLst>
              <a:ext uri="{FF2B5EF4-FFF2-40B4-BE49-F238E27FC236}">
                <a16:creationId xmlns:a16="http://schemas.microsoft.com/office/drawing/2014/main" id="{EAD50B81-779F-8B92-2873-78302959C0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6" name="Name &amp; Surname">
            <a:extLst>
              <a:ext uri="{FF2B5EF4-FFF2-40B4-BE49-F238E27FC236}">
                <a16:creationId xmlns:a16="http://schemas.microsoft.com/office/drawing/2014/main" id="{B78998DC-34A4-E505-E5B2-065B7AD50D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EF39B048-D0F7-FC99-C35F-01B454D907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9C0D03-7FFE-8DD0-BA3B-5C5C71E1F4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21270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ide Basic Content, 1-Line Headlin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EC2ECA2C-6A4B-843C-DB4F-601C52819D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361875D-2FEA-BE95-9218-81D842E52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822047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Red">
    <p:bg>
      <p:bgPr>
        <a:solidFill>
          <a:srgbClr val="D023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FE2B1DE6-88E8-5940-A140-CEFB25E44F8E}"/>
              </a:ext>
            </a:extLst>
          </p:cNvPr>
          <p:cNvGrpSpPr/>
          <p:nvPr userDrawn="1"/>
        </p:nvGrpSpPr>
        <p:grpSpPr>
          <a:xfrm>
            <a:off x="4881651" y="1981444"/>
            <a:ext cx="1448597" cy="1447556"/>
            <a:chOff x="6811876" y="1647187"/>
            <a:chExt cx="1448597" cy="1447556"/>
          </a:xfrm>
          <a:solidFill>
            <a:srgbClr val="CF2330"/>
          </a:solidFill>
        </p:grpSpPr>
        <p:sp>
          <p:nvSpPr>
            <p:cNvPr id="14" name="Rounded Rectangle 13">
              <a:extLst>
                <a:ext uri="{FF2B5EF4-FFF2-40B4-BE49-F238E27FC236}">
                  <a16:creationId xmlns:a16="http://schemas.microsoft.com/office/drawing/2014/main" id="{5721BDD7-D6BA-9649-A6F4-0BD415AF2BBF}"/>
                </a:ext>
              </a:extLst>
            </p:cNvPr>
            <p:cNvSpPr/>
            <p:nvPr/>
          </p:nvSpPr>
          <p:spPr>
            <a:xfrm>
              <a:off x="6811876" y="164718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ounded Rectangle 14">
              <a:extLst>
                <a:ext uri="{FF2B5EF4-FFF2-40B4-BE49-F238E27FC236}">
                  <a16:creationId xmlns:a16="http://schemas.microsoft.com/office/drawing/2014/main" id="{5FD3D976-7A1B-2F46-AA9C-FA3A12C5BBFB}"/>
                </a:ext>
              </a:extLst>
            </p:cNvPr>
            <p:cNvSpPr/>
            <p:nvPr/>
          </p:nvSpPr>
          <p:spPr>
            <a:xfrm>
              <a:off x="7359631" y="164718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ounded Rectangle 15">
              <a:extLst>
                <a:ext uri="{FF2B5EF4-FFF2-40B4-BE49-F238E27FC236}">
                  <a16:creationId xmlns:a16="http://schemas.microsoft.com/office/drawing/2014/main" id="{ABBAC0A5-63D6-614C-8289-4285E5C9A790}"/>
                </a:ext>
              </a:extLst>
            </p:cNvPr>
            <p:cNvSpPr/>
            <p:nvPr/>
          </p:nvSpPr>
          <p:spPr>
            <a:xfrm>
              <a:off x="6811876" y="227445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ounded Rectangle 16">
              <a:extLst>
                <a:ext uri="{FF2B5EF4-FFF2-40B4-BE49-F238E27FC236}">
                  <a16:creationId xmlns:a16="http://schemas.microsoft.com/office/drawing/2014/main" id="{9A6C329C-9F49-674D-BE6B-CD803B5FD671}"/>
                </a:ext>
              </a:extLst>
            </p:cNvPr>
            <p:cNvSpPr/>
            <p:nvPr/>
          </p:nvSpPr>
          <p:spPr>
            <a:xfrm>
              <a:off x="7359631" y="227445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73AA23DE-9635-6412-5B6C-4805B44D61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DE06899-4B4E-2102-66E0-D77B3B40FD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2C58259-AE6E-64AC-051F-5732D61AEEF3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2">
            <a:extLst>
              <a:ext uri="{FF2B5EF4-FFF2-40B4-BE49-F238E27FC236}">
                <a16:creationId xmlns:a16="http://schemas.microsoft.com/office/drawing/2014/main" id="{B52EF902-D983-5F8B-3016-8434C60F7C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9AE8B7C-8817-1AB6-CFA8-C9FB6B45D8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648284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-Pink">
    <p:bg>
      <p:bgPr>
        <a:solidFill>
          <a:srgbClr val="F57E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4F9CC8-40EA-727F-B4C5-375BA4128C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A986FFF-E5EB-6060-A806-31D3A19291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6241993-9B36-94BA-B100-31BD0F97012C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3CAE09AD-9EF3-5145-CBD6-0B075575190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CA38BE7-9D59-AE99-EAFE-3C7A12321E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245609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School Bus">
    <p:bg>
      <p:bgPr>
        <a:solidFill>
          <a:srgbClr val="F7A3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993E68-347E-3FDE-ED81-6B1A358C1F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32ACC53-AFB8-B50A-5774-291260F45A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78D9F8B-A123-0ABF-BF76-DDAED5EB9697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27B8CB88-27E5-0001-71B8-27C9E8157CC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77752FC-31AC-31FD-3BC7-B921363C30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054031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Pink">
    <p:bg>
      <p:bgPr>
        <a:solidFill>
          <a:srgbClr val="F8B5B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579E66-55D7-8DB0-F033-35722CC012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EB8F7CF-6101-40E5-0A6D-9349817F16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B403343-90AC-F034-0A23-0078D1BAC4B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3423447F-FBF7-09FD-F74B-F45BAEA269B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074FC0B-E844-EC17-677B-0D8820D63A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67548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New Pink">
    <p:bg>
      <p:bgPr>
        <a:solidFill>
          <a:srgbClr val="FAD2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8EFA60-78F3-8B23-C7C7-E4845471E9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703B7DF-5404-9872-A5D2-95007F07D39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52F7702-2618-9B92-15C3-05C9A7A9CE5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667FDE22-E217-2D1E-77F6-5690AABB8CC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1A10CBB-8EAE-F407-6C3C-B83304AE54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533731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Lt. Gre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95DEF1-A907-F258-BE12-C59E95BBB7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51DA41C-D0B1-AD27-F710-DDAE323E20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4157273-9671-116E-15A9-34D8FB1836D3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7547D791-D560-6AF4-BA19-3F7D8CDF973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657A61D-7CAB-5542-B874-288252F399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79885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900189-5AA2-7FD6-A83C-7485413478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2A94F57-B22C-FA69-3F5A-1800DAF8670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24C75A6-0676-0707-2DA0-9F4F2B6E0D42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02B3A761-F93E-768E-678B-6A2853A7982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0B2227A-AB96-E66D-6959-34F64E1FB2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956080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8083581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DA1175B-4997-AD46-A66F-AD54249B30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E7ED1B1-2133-504B-8BC5-FCD9399E99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9F5F042-B335-3A4E-8342-1F0AFC60A3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94C621B4-9BA6-FE43-9C64-9788F9AAAA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0" name="Picture 9" descr="McGraw Hill cube Logo">
            <a:extLst>
              <a:ext uri="{FF2B5EF4-FFF2-40B4-BE49-F238E27FC236}">
                <a16:creationId xmlns:a16="http://schemas.microsoft.com/office/drawing/2014/main" id="{DA944CFB-F2AB-1F4B-A4C9-0C1C0870C6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450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4090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ECD4933-6BE6-E603-C835-4A8D8C7372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1281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D3E3721-D71C-242D-9FAB-F7484EE46E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EF39B048-D0F7-FC99-C35F-01B454D907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9C0D03-7FFE-8DD0-BA3B-5C5C71E1F4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8582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9754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6792C61-A2E3-D441-8137-CB45AFE0828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DE6919F8-F58F-2A4A-98F5-FDE984CD97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017" y="498906"/>
            <a:ext cx="12183602" cy="5878123"/>
            <a:chOff x="-1017" y="498906"/>
            <a:chExt cx="12183602" cy="5878123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E84A42B3-C875-7246-A333-E68DA98D95DB}"/>
                </a:ext>
              </a:extLst>
            </p:cNvPr>
            <p:cNvGrpSpPr/>
            <p:nvPr userDrawn="1"/>
          </p:nvGrpSpPr>
          <p:grpSpPr>
            <a:xfrm>
              <a:off x="-1017" y="1611038"/>
              <a:ext cx="12183602" cy="4765991"/>
              <a:chOff x="-1017" y="1611038"/>
              <a:chExt cx="12183602" cy="4765991"/>
            </a:xfrm>
          </p:grpSpPr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472291B4-31A1-FC4C-9218-CC71C5ECF3DC}"/>
                  </a:ext>
                </a:extLst>
              </p:cNvPr>
              <p:cNvSpPr/>
              <p:nvPr/>
            </p:nvSpPr>
            <p:spPr>
              <a:xfrm rot="16200000">
                <a:off x="8777293" y="3412639"/>
                <a:ext cx="156191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E9130DD8-37F0-BF47-8443-E9DE9187AB2F}"/>
                  </a:ext>
                </a:extLst>
              </p:cNvPr>
              <p:cNvSpPr/>
              <p:nvPr userDrawn="1"/>
            </p:nvSpPr>
            <p:spPr>
              <a:xfrm rot="16200000">
                <a:off x="8952361" y="3354283"/>
                <a:ext cx="1445206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0CD89C06-927B-1048-857D-F555B58E9E09}"/>
                  </a:ext>
                </a:extLst>
              </p:cNvPr>
              <p:cNvSpPr/>
              <p:nvPr/>
            </p:nvSpPr>
            <p:spPr>
              <a:xfrm rot="18900000">
                <a:off x="9095325" y="1611038"/>
                <a:ext cx="301327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57E0C0AC-9BA1-214B-8145-543EE42ED6E9}"/>
                  </a:ext>
                </a:extLst>
              </p:cNvPr>
              <p:cNvSpPr/>
              <p:nvPr userDrawn="1"/>
            </p:nvSpPr>
            <p:spPr>
              <a:xfrm rot="18900000">
                <a:off x="9227663" y="1672933"/>
                <a:ext cx="2954922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D4538913-9335-E444-BF4E-F794A08ED497}"/>
                  </a:ext>
                </a:extLst>
              </p:cNvPr>
              <p:cNvSpPr/>
              <p:nvPr/>
            </p:nvSpPr>
            <p:spPr>
              <a:xfrm>
                <a:off x="-1017" y="6143607"/>
                <a:ext cx="1172392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B0E2A164-33EF-A54E-9F2D-524ABD561FD8}"/>
                  </a:ext>
                </a:extLst>
              </p:cNvPr>
              <p:cNvSpPr/>
              <p:nvPr userDrawn="1"/>
            </p:nvSpPr>
            <p:spPr>
              <a:xfrm>
                <a:off x="-1017" y="6260318"/>
                <a:ext cx="1184210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84A060C7-32C6-3044-9FCC-1367B695FF14}"/>
                  </a:ext>
                </a:extLst>
              </p:cNvPr>
              <p:cNvSpPr/>
              <p:nvPr/>
            </p:nvSpPr>
            <p:spPr>
              <a:xfrm rot="16200000">
                <a:off x="10610640" y="5133287"/>
                <a:ext cx="2112803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A19BE616-B0FC-664F-8D2F-6A3F97AB1633}"/>
                  </a:ext>
                </a:extLst>
              </p:cNvPr>
              <p:cNvSpPr/>
              <p:nvPr userDrawn="1"/>
            </p:nvSpPr>
            <p:spPr>
              <a:xfrm rot="16200000">
                <a:off x="10604504" y="5139423"/>
                <a:ext cx="2358498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5EF27DDE-4D35-EC48-99B6-93AD172168ED}"/>
                  </a:ext>
                </a:extLst>
              </p:cNvPr>
              <p:cNvSpPr/>
              <p:nvPr/>
            </p:nvSpPr>
            <p:spPr>
              <a:xfrm rot="10800000">
                <a:off x="9509673" y="4135243"/>
                <a:ext cx="221323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5B9AE42F-8A3D-BD41-8E8C-B03D6F2AABFD}"/>
                  </a:ext>
                </a:extLst>
              </p:cNvPr>
              <p:cNvSpPr/>
              <p:nvPr userDrawn="1"/>
            </p:nvSpPr>
            <p:spPr>
              <a:xfrm rot="10800000">
                <a:off x="9616608" y="4018531"/>
                <a:ext cx="221323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8018B7F2-7545-1A40-8767-8909D3F4819C}"/>
                </a:ext>
              </a:extLst>
            </p:cNvPr>
            <p:cNvGrpSpPr/>
            <p:nvPr userDrawn="1"/>
          </p:nvGrpSpPr>
          <p:grpSpPr>
            <a:xfrm>
              <a:off x="10912844" y="498906"/>
              <a:ext cx="932229" cy="932361"/>
              <a:chOff x="10912844" y="498906"/>
              <a:chExt cx="932229" cy="932361"/>
            </a:xfrm>
          </p:grpSpPr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86F24CA8-7119-C74B-961C-0D182044791D}"/>
                  </a:ext>
                </a:extLst>
              </p:cNvPr>
              <p:cNvGrpSpPr/>
              <p:nvPr userDrawn="1"/>
            </p:nvGrpSpPr>
            <p:grpSpPr>
              <a:xfrm>
                <a:off x="10915811" y="498906"/>
                <a:ext cx="929262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0" name="Parallelogram 39">
                  <a:extLst>
                    <a:ext uri="{FF2B5EF4-FFF2-40B4-BE49-F238E27FC236}">
                      <a16:creationId xmlns:a16="http://schemas.microsoft.com/office/drawing/2014/main" id="{4ECDA969-3B93-0041-8812-9414A9750FCE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1" name="Parallelogram 40">
                  <a:extLst>
                    <a:ext uri="{FF2B5EF4-FFF2-40B4-BE49-F238E27FC236}">
                      <a16:creationId xmlns:a16="http://schemas.microsoft.com/office/drawing/2014/main" id="{CA5C2512-C76D-6E41-8E09-02263D12AC03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2E6F009D-4DD9-1445-882C-05B6CB71001E}"/>
                  </a:ext>
                </a:extLst>
              </p:cNvPr>
              <p:cNvGrpSpPr/>
              <p:nvPr userDrawn="1"/>
            </p:nvGrpSpPr>
            <p:grpSpPr>
              <a:xfrm>
                <a:off x="10912844" y="609246"/>
                <a:ext cx="823347" cy="822021"/>
                <a:chOff x="3966636" y="2277354"/>
                <a:chExt cx="823347" cy="822021"/>
              </a:xfrm>
              <a:solidFill>
                <a:srgbClr val="E21A23"/>
              </a:solidFill>
            </p:grpSpPr>
            <p:sp>
              <p:nvSpPr>
                <p:cNvPr id="38" name="Parallelogram 61">
                  <a:extLst>
                    <a:ext uri="{FF2B5EF4-FFF2-40B4-BE49-F238E27FC236}">
                      <a16:creationId xmlns:a16="http://schemas.microsoft.com/office/drawing/2014/main" id="{4FF1D96C-C26A-D247-B296-2D1B409294A0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Parallelogram 61">
                  <a:extLst>
                    <a:ext uri="{FF2B5EF4-FFF2-40B4-BE49-F238E27FC236}">
                      <a16:creationId xmlns:a16="http://schemas.microsoft.com/office/drawing/2014/main" id="{5610441A-E740-F54A-80F8-0C5A74DE2B3B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sp>
        <p:nvSpPr>
          <p:cNvPr id="58" name="Rectangle 57">
            <a:extLst>
              <a:ext uri="{FF2B5EF4-FFF2-40B4-BE49-F238E27FC236}">
                <a16:creationId xmlns:a16="http://schemas.microsoft.com/office/drawing/2014/main" id="{1D270C0A-6D12-D543-BBDC-13F13EEF7D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1AB0CE1-8D6D-7448-B8CE-6354B4485C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62B1EA1F-4CEF-8943-B26B-D2EE7BECA27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3" name="Numeral Date">
            <a:extLst>
              <a:ext uri="{FF2B5EF4-FFF2-40B4-BE49-F238E27FC236}">
                <a16:creationId xmlns:a16="http://schemas.microsoft.com/office/drawing/2014/main" id="{C75370B1-A29C-D045-93FF-A3FF43E45D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44" name="Name &amp; Surname">
            <a:extLst>
              <a:ext uri="{FF2B5EF4-FFF2-40B4-BE49-F238E27FC236}">
                <a16:creationId xmlns:a16="http://schemas.microsoft.com/office/drawing/2014/main" id="{0FC2ACD5-DFC3-DC4A-AD29-579EDAF07F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60" name="Subtitle">
            <a:extLst>
              <a:ext uri="{FF2B5EF4-FFF2-40B4-BE49-F238E27FC236}">
                <a16:creationId xmlns:a16="http://schemas.microsoft.com/office/drawing/2014/main" id="{360FC992-BC0C-6F41-B636-9B86C8738C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33" name="Title 2">
            <a:extLst>
              <a:ext uri="{FF2B5EF4-FFF2-40B4-BE49-F238E27FC236}">
                <a16:creationId xmlns:a16="http://schemas.microsoft.com/office/drawing/2014/main" id="{2EA7844D-0BD6-CD4D-8958-F02051CF3E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56" name="Picture 55" descr="McGraw Hill red cube Logo">
            <a:extLst>
              <a:ext uri="{FF2B5EF4-FFF2-40B4-BE49-F238E27FC236}">
                <a16:creationId xmlns:a16="http://schemas.microsoft.com/office/drawing/2014/main" id="{FB8ADFE6-C4A2-E14F-8FFD-6019DBA618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906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740488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34367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Slide_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08C330D-E520-B044-BD7F-823FA39703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625"/>
          <a:stretch/>
        </p:blipFill>
        <p:spPr>
          <a:xfrm>
            <a:off x="0" y="728662"/>
            <a:ext cx="12187066" cy="6129337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84D5301B-133C-564C-A213-9DA092C66D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3499"/>
            <a:ext cx="11851251" cy="5142543"/>
            <a:chOff x="-14169" y="507347"/>
            <a:chExt cx="11851251" cy="514254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3607632-190B-BF46-A15F-419EBA13D38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CC3EE70-2932-9F45-86C4-6EB0FC1208EB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24F4CF0-1139-A04F-8262-0FA8B4E1A447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E8BB8EE7-4379-1C4F-8C8B-F6CD9F7EE4CF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Parallelogram 19">
                <a:extLst>
                  <a:ext uri="{FF2B5EF4-FFF2-40B4-BE49-F238E27FC236}">
                    <a16:creationId xmlns:a16="http://schemas.microsoft.com/office/drawing/2014/main" id="{B6CF2F0D-211E-1246-B0AC-C15369890DD1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75C03DF-97F8-9846-88BD-3B9E9CAFF73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8AE447BA-E1FE-7549-9DBC-7AACD8913A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92853" y="1433824"/>
            <a:ext cx="2583634" cy="1183772"/>
          </a:xfrm>
          <a:prstGeom prst="rect">
            <a:avLst/>
          </a:prstGeom>
          <a:solidFill>
            <a:srgbClr val="E5E5E5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63F4F9D-236C-FE44-AC73-5145CBDED1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5566" y="2132792"/>
            <a:ext cx="6331352" cy="3515654"/>
          </a:xfrm>
          <a:prstGeom prst="rect">
            <a:avLst/>
          </a:prstGeom>
          <a:solidFill>
            <a:srgbClr val="E5E5E5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pg">
            <a:extLst>
              <a:ext uri="{FF2B5EF4-FFF2-40B4-BE49-F238E27FC236}">
                <a16:creationId xmlns:a16="http://schemas.microsoft.com/office/drawing/2014/main" id="{708BA20F-287E-A64B-B0E2-6A026B4332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Copy 2">
            <a:extLst>
              <a:ext uri="{FF2B5EF4-FFF2-40B4-BE49-F238E27FC236}">
                <a16:creationId xmlns:a16="http://schemas.microsoft.com/office/drawing/2014/main" id="{2C589809-6889-304F-BCFD-CB64BE2997D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336363" y="510292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50" name="Copy 2">
            <a:extLst>
              <a:ext uri="{FF2B5EF4-FFF2-40B4-BE49-F238E27FC236}">
                <a16:creationId xmlns:a16="http://schemas.microsoft.com/office/drawing/2014/main" id="{771E4932-0E80-7849-8F31-59BE3850714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27915" y="510682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qu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i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isi</a:t>
            </a:r>
          </a:p>
        </p:txBody>
      </p:sp>
      <p:sp>
        <p:nvSpPr>
          <p:cNvPr id="47" name="Copy 2">
            <a:extLst>
              <a:ext uri="{FF2B5EF4-FFF2-40B4-BE49-F238E27FC236}">
                <a16:creationId xmlns:a16="http://schemas.microsoft.com/office/drawing/2014/main" id="{E74A92CB-3D2E-0446-A274-2F2CAA31601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36363" y="443370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9-12</a:t>
            </a:r>
          </a:p>
        </p:txBody>
      </p:sp>
      <p:sp>
        <p:nvSpPr>
          <p:cNvPr id="46" name="Copy 2">
            <a:extLst>
              <a:ext uri="{FF2B5EF4-FFF2-40B4-BE49-F238E27FC236}">
                <a16:creationId xmlns:a16="http://schemas.microsoft.com/office/drawing/2014/main" id="{1895650C-4BDD-2C4A-B540-9EC7AF02BBF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27915" y="443759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Copy 2">
            <a:extLst>
              <a:ext uri="{FF2B5EF4-FFF2-40B4-BE49-F238E27FC236}">
                <a16:creationId xmlns:a16="http://schemas.microsoft.com/office/drawing/2014/main" id="{83FC4E0C-81D0-2843-AF35-C8972AD081A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36363" y="374767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5-08</a:t>
            </a:r>
          </a:p>
        </p:txBody>
      </p:sp>
      <p:sp>
        <p:nvSpPr>
          <p:cNvPr id="44" name="Copy 2">
            <a:extLst>
              <a:ext uri="{FF2B5EF4-FFF2-40B4-BE49-F238E27FC236}">
                <a16:creationId xmlns:a16="http://schemas.microsoft.com/office/drawing/2014/main" id="{4ECEB2AE-9816-3A4C-938A-3042348F0EE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27915" y="375156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Copy 2">
            <a:extLst>
              <a:ext uri="{FF2B5EF4-FFF2-40B4-BE49-F238E27FC236}">
                <a16:creationId xmlns:a16="http://schemas.microsoft.com/office/drawing/2014/main" id="{0538509E-84DE-5B48-9C6C-F12FEB805CE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36363" y="303405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-04</a:t>
            </a:r>
          </a:p>
        </p:txBody>
      </p:sp>
      <p:sp>
        <p:nvSpPr>
          <p:cNvPr id="40" name="Copy 2">
            <a:extLst>
              <a:ext uri="{FF2B5EF4-FFF2-40B4-BE49-F238E27FC236}">
                <a16:creationId xmlns:a16="http://schemas.microsoft.com/office/drawing/2014/main" id="{230F3435-ED54-634F-BEC4-8BA3E46EEE2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27915" y="303795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ec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esuad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Copy 2">
            <a:extLst>
              <a:ext uri="{FF2B5EF4-FFF2-40B4-BE49-F238E27FC236}">
                <a16:creationId xmlns:a16="http://schemas.microsoft.com/office/drawing/2014/main" id="{3832C629-D010-424E-8A08-13B90033315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36363" y="2336428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36" name="Copy 2">
            <a:extLst>
              <a:ext uri="{FF2B5EF4-FFF2-40B4-BE49-F238E27FC236}">
                <a16:creationId xmlns:a16="http://schemas.microsoft.com/office/drawing/2014/main" id="{D446FFD1-F5A6-7C4B-B3E0-9B8AF09F110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7915" y="2340322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</a:t>
            </a:r>
          </a:p>
        </p:txBody>
      </p:sp>
      <p:sp>
        <p:nvSpPr>
          <p:cNvPr id="52" name="Subtitle">
            <a:extLst>
              <a:ext uri="{FF2B5EF4-FFF2-40B4-BE49-F238E27FC236}">
                <a16:creationId xmlns:a16="http://schemas.microsoft.com/office/drawing/2014/main" id="{409D71C9-875A-1A4D-8CAB-D768AA686F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76028" y="2021714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9D511974-7E30-5F48-9610-8BB584FB3B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6028" y="1648584"/>
            <a:ext cx="2190520" cy="332905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endParaRPr lang="en-US"/>
          </a:p>
        </p:txBody>
      </p:sp>
      <p:sp>
        <p:nvSpPr>
          <p:cNvPr id="26" name="Chapter Title">
            <a:extLst>
              <a:ext uri="{FF2B5EF4-FFF2-40B4-BE49-F238E27FC236}">
                <a16:creationId xmlns:a16="http://schemas.microsoft.com/office/drawing/2014/main" id="{76329F06-79E5-9746-AFE7-EEB9368217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31695" y="323151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57D0B80-12FD-454F-BA40-B491810A45CD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185277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Slides_No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9539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4D5301B-133C-564C-A213-9DA092C66D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3499"/>
            <a:ext cx="11851251" cy="5142543"/>
            <a:chOff x="-14169" y="507347"/>
            <a:chExt cx="11851251" cy="514254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3607632-190B-BF46-A15F-419EBA13D38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CC3EE70-2932-9F45-86C4-6EB0FC1208EB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24F4CF0-1139-A04F-8262-0FA8B4E1A447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E8BB8EE7-4379-1C4F-8C8B-F6CD9F7EE4CF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Parallelogram 19">
                <a:extLst>
                  <a:ext uri="{FF2B5EF4-FFF2-40B4-BE49-F238E27FC236}">
                    <a16:creationId xmlns:a16="http://schemas.microsoft.com/office/drawing/2014/main" id="{B6CF2F0D-211E-1246-B0AC-C15369890DD1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75C03DF-97F8-9846-88BD-3B9E9CAFF73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Pg">
            <a:extLst>
              <a:ext uri="{FF2B5EF4-FFF2-40B4-BE49-F238E27FC236}">
                <a16:creationId xmlns:a16="http://schemas.microsoft.com/office/drawing/2014/main" id="{86BE882A-7C95-DB46-BB47-D80D783466A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Copy 2">
            <a:extLst>
              <a:ext uri="{FF2B5EF4-FFF2-40B4-BE49-F238E27FC236}">
                <a16:creationId xmlns:a16="http://schemas.microsoft.com/office/drawing/2014/main" id="{8E79F517-E97A-2748-BB37-5253B0C35F4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336363" y="510292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54" name="Copy 2">
            <a:extLst>
              <a:ext uri="{FF2B5EF4-FFF2-40B4-BE49-F238E27FC236}">
                <a16:creationId xmlns:a16="http://schemas.microsoft.com/office/drawing/2014/main" id="{3B8A7439-D821-E74D-A59D-0A056B5D0A5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27915" y="510682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qu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i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isi</a:t>
            </a:r>
          </a:p>
        </p:txBody>
      </p:sp>
      <p:sp>
        <p:nvSpPr>
          <p:cNvPr id="53" name="Copy 2">
            <a:extLst>
              <a:ext uri="{FF2B5EF4-FFF2-40B4-BE49-F238E27FC236}">
                <a16:creationId xmlns:a16="http://schemas.microsoft.com/office/drawing/2014/main" id="{31B6FA48-16DD-004A-9464-40670B7009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36363" y="443370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9-12</a:t>
            </a:r>
          </a:p>
        </p:txBody>
      </p:sp>
      <p:sp>
        <p:nvSpPr>
          <p:cNvPr id="52" name="Copy 2">
            <a:extLst>
              <a:ext uri="{FF2B5EF4-FFF2-40B4-BE49-F238E27FC236}">
                <a16:creationId xmlns:a16="http://schemas.microsoft.com/office/drawing/2014/main" id="{265B6FF0-F656-0B43-B8D5-E437272BE50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27915" y="443759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Copy 2">
            <a:extLst>
              <a:ext uri="{FF2B5EF4-FFF2-40B4-BE49-F238E27FC236}">
                <a16:creationId xmlns:a16="http://schemas.microsoft.com/office/drawing/2014/main" id="{96FFBA0B-358D-D141-BE91-646C0B1AD23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36363" y="374767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5-08</a:t>
            </a:r>
          </a:p>
        </p:txBody>
      </p:sp>
      <p:sp>
        <p:nvSpPr>
          <p:cNvPr id="50" name="Copy 2">
            <a:extLst>
              <a:ext uri="{FF2B5EF4-FFF2-40B4-BE49-F238E27FC236}">
                <a16:creationId xmlns:a16="http://schemas.microsoft.com/office/drawing/2014/main" id="{8E55FD44-AA75-3240-B10E-45B18867F87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27915" y="375156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Copy 2">
            <a:extLst>
              <a:ext uri="{FF2B5EF4-FFF2-40B4-BE49-F238E27FC236}">
                <a16:creationId xmlns:a16="http://schemas.microsoft.com/office/drawing/2014/main" id="{F33E9590-2B13-C240-8A3F-C37F5BF0FA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36363" y="303405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-04</a:t>
            </a:r>
          </a:p>
        </p:txBody>
      </p:sp>
      <p:sp>
        <p:nvSpPr>
          <p:cNvPr id="48" name="Copy 2">
            <a:extLst>
              <a:ext uri="{FF2B5EF4-FFF2-40B4-BE49-F238E27FC236}">
                <a16:creationId xmlns:a16="http://schemas.microsoft.com/office/drawing/2014/main" id="{45AB5212-6841-5641-A6E9-2439AD1F5E7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27915" y="303795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ec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esuad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Copy 2">
            <a:extLst>
              <a:ext uri="{FF2B5EF4-FFF2-40B4-BE49-F238E27FC236}">
                <a16:creationId xmlns:a16="http://schemas.microsoft.com/office/drawing/2014/main" id="{69222BC1-7ACE-A845-B5C4-562B12BD884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36363" y="2336428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46" name="Copy 2">
            <a:extLst>
              <a:ext uri="{FF2B5EF4-FFF2-40B4-BE49-F238E27FC236}">
                <a16:creationId xmlns:a16="http://schemas.microsoft.com/office/drawing/2014/main" id="{FFB5E7A5-06FF-8E41-A206-8FE0483CFA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7915" y="2340322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</a:t>
            </a:r>
          </a:p>
        </p:txBody>
      </p:sp>
      <p:sp>
        <p:nvSpPr>
          <p:cNvPr id="45" name="Subtitle">
            <a:extLst>
              <a:ext uri="{FF2B5EF4-FFF2-40B4-BE49-F238E27FC236}">
                <a16:creationId xmlns:a16="http://schemas.microsoft.com/office/drawing/2014/main" id="{E6A78EA7-0D45-D84E-9603-8D69EB853F0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9052" y="2023690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ADCA9C4C-4F7B-8F4F-A1CD-CFC62E52FC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4118751" cy="332905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2" name="Chapter Title">
            <a:extLst>
              <a:ext uri="{FF2B5EF4-FFF2-40B4-BE49-F238E27FC236}">
                <a16:creationId xmlns:a16="http://schemas.microsoft.com/office/drawing/2014/main" id="{A3C8596E-EA5D-684C-8A87-6E61DFA8A6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31695" y="323151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E84DAE-CB25-CA46-92DA-96F9B98F3A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418133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140FAE7B-C969-EA4C-B018-E010BFDDB3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69" name="Group 68">
            <a:extLst>
              <a:ext uri="{FF2B5EF4-FFF2-40B4-BE49-F238E27FC236}">
                <a16:creationId xmlns:a16="http://schemas.microsoft.com/office/drawing/2014/main" id="{88B37A11-A451-B14A-A613-5DC98C2A3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506002"/>
            <a:ext cx="11897228" cy="5350534"/>
            <a:chOff x="0" y="498906"/>
            <a:chExt cx="11897228" cy="5350534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A51B0339-C2E6-3143-B244-BD4D1E18126D}"/>
                </a:ext>
              </a:extLst>
            </p:cNvPr>
            <p:cNvSpPr/>
            <p:nvPr userDrawn="1"/>
          </p:nvSpPr>
          <p:spPr>
            <a:xfrm rot="18900000">
              <a:off x="10798542" y="892842"/>
              <a:ext cx="1017836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C129491A-35D4-A84B-9565-87CDF183DA99}"/>
                </a:ext>
              </a:extLst>
            </p:cNvPr>
            <p:cNvSpPr/>
            <p:nvPr userDrawn="1"/>
          </p:nvSpPr>
          <p:spPr>
            <a:xfrm rot="18900000">
              <a:off x="10890847" y="974494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E0E98AE8-8411-B84B-8292-638139043AC5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84" name="Parallelogram 83">
                <a:extLst>
                  <a:ext uri="{FF2B5EF4-FFF2-40B4-BE49-F238E27FC236}">
                    <a16:creationId xmlns:a16="http://schemas.microsoft.com/office/drawing/2014/main" id="{DC41989C-E26D-6442-B3CA-B5B0F28175A6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Parallelogram 84">
                <a:extLst>
                  <a:ext uri="{FF2B5EF4-FFF2-40B4-BE49-F238E27FC236}">
                    <a16:creationId xmlns:a16="http://schemas.microsoft.com/office/drawing/2014/main" id="{AB6243CF-39D2-D048-B28C-C3914962E629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4EA953C2-A653-0845-9DC2-36DE9B037A96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82" name="Parallelogram 61">
                <a:extLst>
                  <a:ext uri="{FF2B5EF4-FFF2-40B4-BE49-F238E27FC236}">
                    <a16:creationId xmlns:a16="http://schemas.microsoft.com/office/drawing/2014/main" id="{9C6D802B-1C1B-2448-A369-EA4FB3078951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Parallelogram 61">
                <a:extLst>
                  <a:ext uri="{FF2B5EF4-FFF2-40B4-BE49-F238E27FC236}">
                    <a16:creationId xmlns:a16="http://schemas.microsoft.com/office/drawing/2014/main" id="{EDEDF0C9-1B0B-7D40-9C60-92AD32713352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C9203BDD-F085-D54C-9B92-5D89770BA44F}"/>
                </a:ext>
              </a:extLst>
            </p:cNvPr>
            <p:cNvSpPr/>
            <p:nvPr userDrawn="1"/>
          </p:nvSpPr>
          <p:spPr>
            <a:xfrm rot="16200000">
              <a:off x="10612440" y="1560289"/>
              <a:ext cx="693781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261CD1B2-8A88-4D4D-8EE9-356040E2B5C3}"/>
                </a:ext>
              </a:extLst>
            </p:cNvPr>
            <p:cNvSpPr/>
            <p:nvPr userDrawn="1"/>
          </p:nvSpPr>
          <p:spPr>
            <a:xfrm>
              <a:off x="0" y="5616018"/>
              <a:ext cx="4524277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9B532A4-72CD-B24F-BE9E-7E6C3538E514}"/>
                </a:ext>
              </a:extLst>
            </p:cNvPr>
            <p:cNvSpPr/>
            <p:nvPr userDrawn="1"/>
          </p:nvSpPr>
          <p:spPr>
            <a:xfrm>
              <a:off x="0" y="5732729"/>
              <a:ext cx="4524277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0D230A1-DF77-DC4E-9A42-EEC7C5D67993}"/>
                </a:ext>
              </a:extLst>
            </p:cNvPr>
            <p:cNvSpPr/>
            <p:nvPr userDrawn="1"/>
          </p:nvSpPr>
          <p:spPr>
            <a:xfrm rot="16200000">
              <a:off x="2357684" y="3679671"/>
              <a:ext cx="3983056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395FC387-B840-D144-9C0C-7CED914FF8A8}"/>
                </a:ext>
              </a:extLst>
            </p:cNvPr>
            <p:cNvSpPr/>
            <p:nvPr userDrawn="1"/>
          </p:nvSpPr>
          <p:spPr>
            <a:xfrm rot="16200000">
              <a:off x="2417629" y="3736438"/>
              <a:ext cx="409658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15891EC6-CDBE-7B4D-8AD8-65999404C3DF}"/>
                </a:ext>
              </a:extLst>
            </p:cNvPr>
            <p:cNvSpPr/>
            <p:nvPr userDrawn="1"/>
          </p:nvSpPr>
          <p:spPr>
            <a:xfrm>
              <a:off x="4290855" y="1746499"/>
              <a:ext cx="6843541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07E0216E-0E5D-5D4F-BB4E-47134EF5BCA0}"/>
                </a:ext>
              </a:extLst>
            </p:cNvPr>
            <p:cNvSpPr/>
            <p:nvPr userDrawn="1"/>
          </p:nvSpPr>
          <p:spPr>
            <a:xfrm>
              <a:off x="4440730" y="1863210"/>
              <a:ext cx="668130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FAB71DA5-CF63-FE4F-AE8F-D72A2684966E}"/>
                </a:ext>
              </a:extLst>
            </p:cNvPr>
            <p:cNvSpPr/>
            <p:nvPr userDrawn="1"/>
          </p:nvSpPr>
          <p:spPr>
            <a:xfrm rot="16200000">
              <a:off x="10778958" y="1603747"/>
              <a:ext cx="594165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07ADE1EB-1CB5-2346-AF61-868FF2D41E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71563"/>
            <a:ext cx="7667723" cy="38724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25" name="Pg number">
            <a:extLst>
              <a:ext uri="{FF2B5EF4-FFF2-40B4-BE49-F238E27FC236}">
                <a16:creationId xmlns:a16="http://schemas.microsoft.com/office/drawing/2014/main" id="{0C8CE0BD-720A-0A41-BFD2-D138577FC5D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C1F4978B-3695-7A4D-B017-E81591AFC0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34B8769-635F-D74F-ABA7-7F04BF619A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0" name="Picture 29" descr="McGraw Hill cube Logo">
            <a:extLst>
              <a:ext uri="{FF2B5EF4-FFF2-40B4-BE49-F238E27FC236}">
                <a16:creationId xmlns:a16="http://schemas.microsoft.com/office/drawing/2014/main" id="{FEAEE38D-F776-C54D-998E-34EC9E04A1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756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044F715-949A-4B0A-5E61-32B593168F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69" name="Group 68">
            <a:extLst>
              <a:ext uri="{FF2B5EF4-FFF2-40B4-BE49-F238E27FC236}">
                <a16:creationId xmlns:a16="http://schemas.microsoft.com/office/drawing/2014/main" id="{88B37A11-A451-B14A-A613-5DC98C2A3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506002"/>
            <a:ext cx="11897228" cy="5350534"/>
            <a:chOff x="0" y="498906"/>
            <a:chExt cx="11897228" cy="5350534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A51B0339-C2E6-3143-B244-BD4D1E18126D}"/>
                </a:ext>
              </a:extLst>
            </p:cNvPr>
            <p:cNvSpPr/>
            <p:nvPr userDrawn="1"/>
          </p:nvSpPr>
          <p:spPr>
            <a:xfrm rot="18900000">
              <a:off x="10798542" y="892842"/>
              <a:ext cx="1017836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C129491A-35D4-A84B-9565-87CDF183DA99}"/>
                </a:ext>
              </a:extLst>
            </p:cNvPr>
            <p:cNvSpPr/>
            <p:nvPr userDrawn="1"/>
          </p:nvSpPr>
          <p:spPr>
            <a:xfrm rot="18900000">
              <a:off x="10890847" y="974494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E0E98AE8-8411-B84B-8292-638139043AC5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84" name="Parallelogram 83">
                <a:extLst>
                  <a:ext uri="{FF2B5EF4-FFF2-40B4-BE49-F238E27FC236}">
                    <a16:creationId xmlns:a16="http://schemas.microsoft.com/office/drawing/2014/main" id="{DC41989C-E26D-6442-B3CA-B5B0F28175A6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Parallelogram 84">
                <a:extLst>
                  <a:ext uri="{FF2B5EF4-FFF2-40B4-BE49-F238E27FC236}">
                    <a16:creationId xmlns:a16="http://schemas.microsoft.com/office/drawing/2014/main" id="{AB6243CF-39D2-D048-B28C-C3914962E629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4EA953C2-A653-0845-9DC2-36DE9B037A96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82" name="Parallelogram 61">
                <a:extLst>
                  <a:ext uri="{FF2B5EF4-FFF2-40B4-BE49-F238E27FC236}">
                    <a16:creationId xmlns:a16="http://schemas.microsoft.com/office/drawing/2014/main" id="{9C6D802B-1C1B-2448-A369-EA4FB3078951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Parallelogram 61">
                <a:extLst>
                  <a:ext uri="{FF2B5EF4-FFF2-40B4-BE49-F238E27FC236}">
                    <a16:creationId xmlns:a16="http://schemas.microsoft.com/office/drawing/2014/main" id="{EDEDF0C9-1B0B-7D40-9C60-92AD32713352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C9203BDD-F085-D54C-9B92-5D89770BA44F}"/>
                </a:ext>
              </a:extLst>
            </p:cNvPr>
            <p:cNvSpPr/>
            <p:nvPr userDrawn="1"/>
          </p:nvSpPr>
          <p:spPr>
            <a:xfrm rot="16200000">
              <a:off x="10612440" y="1560289"/>
              <a:ext cx="693781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261CD1B2-8A88-4D4D-8EE9-356040E2B5C3}"/>
                </a:ext>
              </a:extLst>
            </p:cNvPr>
            <p:cNvSpPr/>
            <p:nvPr userDrawn="1"/>
          </p:nvSpPr>
          <p:spPr>
            <a:xfrm>
              <a:off x="0" y="5616018"/>
              <a:ext cx="4524277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9B532A4-72CD-B24F-BE9E-7E6C3538E514}"/>
                </a:ext>
              </a:extLst>
            </p:cNvPr>
            <p:cNvSpPr/>
            <p:nvPr userDrawn="1"/>
          </p:nvSpPr>
          <p:spPr>
            <a:xfrm>
              <a:off x="0" y="5732729"/>
              <a:ext cx="4524277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0D230A1-DF77-DC4E-9A42-EEC7C5D67993}"/>
                </a:ext>
              </a:extLst>
            </p:cNvPr>
            <p:cNvSpPr/>
            <p:nvPr userDrawn="1"/>
          </p:nvSpPr>
          <p:spPr>
            <a:xfrm rot="16200000">
              <a:off x="2357684" y="3679671"/>
              <a:ext cx="3983056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395FC387-B840-D144-9C0C-7CED914FF8A8}"/>
                </a:ext>
              </a:extLst>
            </p:cNvPr>
            <p:cNvSpPr/>
            <p:nvPr userDrawn="1"/>
          </p:nvSpPr>
          <p:spPr>
            <a:xfrm rot="16200000">
              <a:off x="2417629" y="3736438"/>
              <a:ext cx="409658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15891EC6-CDBE-7B4D-8AD8-65999404C3DF}"/>
                </a:ext>
              </a:extLst>
            </p:cNvPr>
            <p:cNvSpPr/>
            <p:nvPr userDrawn="1"/>
          </p:nvSpPr>
          <p:spPr>
            <a:xfrm>
              <a:off x="4290855" y="1746499"/>
              <a:ext cx="6843541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07E0216E-0E5D-5D4F-BB4E-47134EF5BCA0}"/>
                </a:ext>
              </a:extLst>
            </p:cNvPr>
            <p:cNvSpPr/>
            <p:nvPr userDrawn="1"/>
          </p:nvSpPr>
          <p:spPr>
            <a:xfrm>
              <a:off x="4440730" y="1863210"/>
              <a:ext cx="668130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FAB71DA5-CF63-FE4F-AE8F-D72A2684966E}"/>
                </a:ext>
              </a:extLst>
            </p:cNvPr>
            <p:cNvSpPr/>
            <p:nvPr userDrawn="1"/>
          </p:nvSpPr>
          <p:spPr>
            <a:xfrm rot="16200000">
              <a:off x="10778958" y="1603747"/>
              <a:ext cx="594165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07ADE1EB-1CB5-2346-AF61-868FF2D41E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71563"/>
            <a:ext cx="7667723" cy="38724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25" name="Pg number">
            <a:extLst>
              <a:ext uri="{FF2B5EF4-FFF2-40B4-BE49-F238E27FC236}">
                <a16:creationId xmlns:a16="http://schemas.microsoft.com/office/drawing/2014/main" id="{0C8CE0BD-720A-0A41-BFD2-D138577FC5D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C1F4978B-3695-7A4D-B017-E81591AFC0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34B8769-635F-D74F-ABA7-7F04BF619A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" name="Picture 1" descr="McGraw Hill red cube Logo">
            <a:extLst>
              <a:ext uri="{FF2B5EF4-FFF2-40B4-BE49-F238E27FC236}">
                <a16:creationId xmlns:a16="http://schemas.microsoft.com/office/drawing/2014/main" id="{624423C3-3CC8-6B32-9362-91ED190AD4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162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FD39785A-557E-E14B-A935-CDBDBDD4CDA3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E37CF15-892E-7F49-AF0C-7BE439FF32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0838D3D7-DCCD-8346-A433-F53F64323D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84089"/>
            <a:ext cx="7667723" cy="387244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0E26DE9-E717-A84D-B0C4-9053EBE19F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19649"/>
            <a:ext cx="11851251" cy="5338782"/>
            <a:chOff x="-14169" y="506202"/>
            <a:chExt cx="11851251" cy="5338782"/>
          </a:xfrm>
          <a:solidFill>
            <a:schemeClr val="bg1"/>
          </a:solidFill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D29C28D-14ED-B84E-8E53-A6BB8329DEDB}"/>
                </a:ext>
              </a:extLst>
            </p:cNvPr>
            <p:cNvSpPr/>
            <p:nvPr userDrawn="1"/>
          </p:nvSpPr>
          <p:spPr>
            <a:xfrm rot="8100000">
              <a:off x="10845762" y="909016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89AA42A9-15FB-6749-AE69-FC1D7B7168F3}"/>
                </a:ext>
              </a:extLst>
            </p:cNvPr>
            <p:cNvGrpSpPr/>
            <p:nvPr userDrawn="1"/>
          </p:nvGrpSpPr>
          <p:grpSpPr>
            <a:xfrm>
              <a:off x="-14169" y="506202"/>
              <a:ext cx="11851251" cy="5338782"/>
              <a:chOff x="-14169" y="506202"/>
              <a:chExt cx="11851251" cy="5338782"/>
            </a:xfrm>
            <a:grpFill/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62B22248-2D53-E247-AA3F-ED2E1D124D64}"/>
                  </a:ext>
                </a:extLst>
              </p:cNvPr>
              <p:cNvSpPr/>
              <p:nvPr userDrawn="1"/>
            </p:nvSpPr>
            <p:spPr>
              <a:xfrm>
                <a:off x="-14169" y="5620843"/>
                <a:ext cx="4538446" cy="22414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F1BFD95-5698-FF43-AD20-66576A3F3D3A}"/>
                  </a:ext>
                </a:extLst>
              </p:cNvPr>
              <p:cNvSpPr/>
              <p:nvPr userDrawn="1"/>
            </p:nvSpPr>
            <p:spPr>
              <a:xfrm rot="16200000">
                <a:off x="2360984" y="3679797"/>
                <a:ext cx="4096587" cy="22999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5A044FDD-50FA-1648-9457-EC05013947C0}"/>
                  </a:ext>
                </a:extLst>
              </p:cNvPr>
              <p:cNvSpPr/>
              <p:nvPr userDrawn="1"/>
            </p:nvSpPr>
            <p:spPr>
              <a:xfrm>
                <a:off x="4294278" y="1746503"/>
                <a:ext cx="6843541" cy="22414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96C32C9E-D401-6E48-9976-914E453C4AD3}"/>
                  </a:ext>
                </a:extLst>
              </p:cNvPr>
              <p:cNvGrpSpPr/>
              <p:nvPr userDrawn="1"/>
            </p:nvGrpSpPr>
            <p:grpSpPr>
              <a:xfrm>
                <a:off x="10907820" y="506202"/>
                <a:ext cx="929262" cy="929262"/>
                <a:chOff x="10912844" y="507347"/>
                <a:chExt cx="929262" cy="929262"/>
              </a:xfrm>
              <a:grpFill/>
            </p:grpSpPr>
            <p:sp>
              <p:nvSpPr>
                <p:cNvPr id="38" name="Parallelogram 37">
                  <a:extLst>
                    <a:ext uri="{FF2B5EF4-FFF2-40B4-BE49-F238E27FC236}">
                      <a16:creationId xmlns:a16="http://schemas.microsoft.com/office/drawing/2014/main" id="{71008BFB-11BC-2542-8376-F7BB3B08D447}"/>
                    </a:ext>
                  </a:extLst>
                </p:cNvPr>
                <p:cNvSpPr/>
                <p:nvPr userDrawn="1"/>
              </p:nvSpPr>
              <p:spPr>
                <a:xfrm>
                  <a:off x="10912844" y="508806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Parallelogram 38">
                  <a:extLst>
                    <a:ext uri="{FF2B5EF4-FFF2-40B4-BE49-F238E27FC236}">
                      <a16:creationId xmlns:a16="http://schemas.microsoft.com/office/drawing/2014/main" id="{BFC3B435-F175-C845-9FEA-61EBC171A2A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11261504" y="859182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9E2D5033-F106-D542-AA2A-50FF984D99EF}"/>
                  </a:ext>
                </a:extLst>
              </p:cNvPr>
              <p:cNvSpPr/>
              <p:nvPr userDrawn="1"/>
            </p:nvSpPr>
            <p:spPr>
              <a:xfrm rot="16200000">
                <a:off x="10675931" y="1508754"/>
                <a:ext cx="693779" cy="22999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1" name="pg">
            <a:extLst>
              <a:ext uri="{FF2B5EF4-FFF2-40B4-BE49-F238E27FC236}">
                <a16:creationId xmlns:a16="http://schemas.microsoft.com/office/drawing/2014/main" id="{C069C5FF-C4F5-3B4E-990A-A42FD42A45F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E887DFBA-3B0F-FA44-9309-DD5EEEB5A3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7B6EED-A51B-1508-D9E2-272A0FFC1A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3" name="Picture 22" descr="McGraw Hill red cube Logo">
            <a:extLst>
              <a:ext uri="{FF2B5EF4-FFF2-40B4-BE49-F238E27FC236}">
                <a16:creationId xmlns:a16="http://schemas.microsoft.com/office/drawing/2014/main" id="{044DDC38-FB28-EF4C-ADCF-A9C98CF649D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241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EEC6ED01-89A0-7B4E-84D8-3604A114E3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9238B502-8BAD-5248-B9DE-FB96A0F868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17754"/>
            <a:ext cx="11851251" cy="5338782"/>
            <a:chOff x="-14169" y="506202"/>
            <a:chExt cx="11851251" cy="5338782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A8C88DB-8810-E447-8A81-0F3785A8C157}"/>
                </a:ext>
              </a:extLst>
            </p:cNvPr>
            <p:cNvSpPr/>
            <p:nvPr userDrawn="1"/>
          </p:nvSpPr>
          <p:spPr>
            <a:xfrm rot="8100000">
              <a:off x="10845762" y="909016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9282E3CE-BD2B-6340-900F-B2BA9F83F177}"/>
                </a:ext>
              </a:extLst>
            </p:cNvPr>
            <p:cNvGrpSpPr/>
            <p:nvPr userDrawn="1"/>
          </p:nvGrpSpPr>
          <p:grpSpPr>
            <a:xfrm>
              <a:off x="-14169" y="506202"/>
              <a:ext cx="11851251" cy="5338782"/>
              <a:chOff x="-14169" y="506202"/>
              <a:chExt cx="11851251" cy="5338782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D9A29EC1-CD07-CB4F-92F6-2FBF0D61BF1C}"/>
                  </a:ext>
                </a:extLst>
              </p:cNvPr>
              <p:cNvSpPr/>
              <p:nvPr userDrawn="1"/>
            </p:nvSpPr>
            <p:spPr>
              <a:xfrm>
                <a:off x="-14169" y="5620843"/>
                <a:ext cx="4538446" cy="224141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43A07749-049F-F14B-A2DF-F987E7A19542}"/>
                  </a:ext>
                </a:extLst>
              </p:cNvPr>
              <p:cNvSpPr/>
              <p:nvPr userDrawn="1"/>
            </p:nvSpPr>
            <p:spPr>
              <a:xfrm rot="16200000">
                <a:off x="2360984" y="3679797"/>
                <a:ext cx="4096587" cy="229998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BEB25190-E7AE-5641-B401-057448851CBD}"/>
                  </a:ext>
                </a:extLst>
              </p:cNvPr>
              <p:cNvSpPr/>
              <p:nvPr userDrawn="1"/>
            </p:nvSpPr>
            <p:spPr>
              <a:xfrm>
                <a:off x="4294278" y="1746503"/>
                <a:ext cx="6843541" cy="224141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DF062EBD-C107-A945-A796-8FBA20908D1F}"/>
                  </a:ext>
                </a:extLst>
              </p:cNvPr>
              <p:cNvGrpSpPr/>
              <p:nvPr userDrawn="1"/>
            </p:nvGrpSpPr>
            <p:grpSpPr>
              <a:xfrm>
                <a:off x="10907820" y="506202"/>
                <a:ext cx="929262" cy="929262"/>
                <a:chOff x="10912844" y="507347"/>
                <a:chExt cx="929262" cy="929262"/>
              </a:xfrm>
              <a:solidFill>
                <a:srgbClr val="E21A23"/>
              </a:solidFill>
            </p:grpSpPr>
            <p:sp>
              <p:nvSpPr>
                <p:cNvPr id="17" name="Parallelogram 16">
                  <a:extLst>
                    <a:ext uri="{FF2B5EF4-FFF2-40B4-BE49-F238E27FC236}">
                      <a16:creationId xmlns:a16="http://schemas.microsoft.com/office/drawing/2014/main" id="{F6133709-CC2E-AD4D-B22A-55D6A67BD879}"/>
                    </a:ext>
                  </a:extLst>
                </p:cNvPr>
                <p:cNvSpPr/>
                <p:nvPr userDrawn="1"/>
              </p:nvSpPr>
              <p:spPr>
                <a:xfrm>
                  <a:off x="10912844" y="508806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" name="Parallelogram 17">
                  <a:extLst>
                    <a:ext uri="{FF2B5EF4-FFF2-40B4-BE49-F238E27FC236}">
                      <a16:creationId xmlns:a16="http://schemas.microsoft.com/office/drawing/2014/main" id="{3D135569-176F-D34C-B1AA-FC3F2A4245B6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11261504" y="859182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08783BD0-5800-864A-85E4-A5FA8CDECACD}"/>
                  </a:ext>
                </a:extLst>
              </p:cNvPr>
              <p:cNvSpPr/>
              <p:nvPr userDrawn="1"/>
            </p:nvSpPr>
            <p:spPr>
              <a:xfrm rot="16200000">
                <a:off x="10675931" y="1508754"/>
                <a:ext cx="693779" cy="229998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092AABA7-D5EC-3E42-92EF-22F71D9466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84089"/>
            <a:ext cx="7667723" cy="38724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Pg">
            <a:extLst>
              <a:ext uri="{FF2B5EF4-FFF2-40B4-BE49-F238E27FC236}">
                <a16:creationId xmlns:a16="http://schemas.microsoft.com/office/drawing/2014/main" id="{74E6E17B-B3EE-D24B-8186-59427D04F31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ubtitle">
            <a:extLst>
              <a:ext uri="{FF2B5EF4-FFF2-40B4-BE49-F238E27FC236}">
                <a16:creationId xmlns:a16="http://schemas.microsoft.com/office/drawing/2014/main" id="{316A894F-484A-204F-ABA7-30CBA739C3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32B211AD-4A3A-0F47-97B5-BEA7151AAB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6" name="Picture 25" descr="McGraw Hill red cube Logo">
            <a:extLst>
              <a:ext uri="{FF2B5EF4-FFF2-40B4-BE49-F238E27FC236}">
                <a16:creationId xmlns:a16="http://schemas.microsoft.com/office/drawing/2014/main" id="{A18E319A-A3FF-CB41-AC94-68C78BF6DA8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2872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3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op Nav">
            <a:extLst>
              <a:ext uri="{FF2B5EF4-FFF2-40B4-BE49-F238E27FC236}">
                <a16:creationId xmlns:a16="http://schemas.microsoft.com/office/drawing/2014/main" id="{5FF64314-768A-094E-8D3E-792A34699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6D0734D5-ECCE-EE43-AEEC-6D640277C70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6BC6A701-16E4-384A-B480-07F21A4EB64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3" name="Headline 2">
            <a:extLst>
              <a:ext uri="{FF2B5EF4-FFF2-40B4-BE49-F238E27FC236}">
                <a16:creationId xmlns:a16="http://schemas.microsoft.com/office/drawing/2014/main" id="{5F149B35-BE87-6D4B-A76F-EE326743B20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8AAD9075-C0FD-4F01-4CCF-5A2EB367446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0A8ABF64-91D8-2F48-97D4-73DC521F41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D147B5A1-6770-244F-90F9-39C7D7B4ED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0883309-70D3-0340-B14E-BE30AF3BDB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9548778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RED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op Nav">
            <a:extLst>
              <a:ext uri="{FF2B5EF4-FFF2-40B4-BE49-F238E27FC236}">
                <a16:creationId xmlns:a16="http://schemas.microsoft.com/office/drawing/2014/main" id="{5FF64314-768A-094E-8D3E-792A34699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6D0734D5-ECCE-EE43-AEEC-6D640277C70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4B65D06A-C660-304A-BF51-E53969C245E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6000" y="723900"/>
            <a:ext cx="6096000" cy="6134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A407A57A-3991-234C-BB4D-C76AA722410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1435" y="2248300"/>
            <a:ext cx="4647804" cy="429260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e do not advise to change color and size of font from what is displayed to abide by accessibility guidance. 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7613E3-528C-4B48-962F-218DA3062E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D147B5A1-6770-244F-90F9-39C7D7B4ED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4341A4-E791-D44E-AC57-83B8D4678A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8412707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25C50BE7-02B9-E94F-82D1-CA65C5808638}"/>
              </a:ext>
            </a:extLst>
          </p:cNvPr>
          <p:cNvSpPr/>
          <p:nvPr userDrawn="1"/>
        </p:nvSpPr>
        <p:spPr>
          <a:xfrm>
            <a:off x="0" y="-1"/>
            <a:ext cx="12192000" cy="6860093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  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FEC3F10-5F67-304B-8825-308AD531CD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C58AD3BE-D6CF-A64B-8811-9A8A9093BA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62867" y="-3"/>
            <a:ext cx="11734660" cy="6349157"/>
            <a:chOff x="362867" y="-3"/>
            <a:chExt cx="11734660" cy="6349157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362867" y="6136112"/>
              <a:ext cx="10780357" cy="2130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/>
          </p:nvSpPr>
          <p:spPr>
            <a:xfrm rot="16200000">
              <a:off x="9515714" y="4721644"/>
              <a:ext cx="3025021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49CCB56-97C4-D743-80FD-7AEEF01BDBA1}"/>
                </a:ext>
              </a:extLst>
            </p:cNvPr>
            <p:cNvSpPr/>
            <p:nvPr/>
          </p:nvSpPr>
          <p:spPr>
            <a:xfrm>
              <a:off x="9502377" y="3324133"/>
              <a:ext cx="1640847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6888F149-DAA2-B848-801A-FCC1422F3B96}"/>
                </a:ext>
              </a:extLst>
            </p:cNvPr>
            <p:cNvSpPr/>
            <p:nvPr/>
          </p:nvSpPr>
          <p:spPr>
            <a:xfrm rot="16200000">
              <a:off x="9188261" y="3004154"/>
              <a:ext cx="858236" cy="2300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chemeClr val="bg1"/>
            </a:solidFill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9147057" y="1613790"/>
              <a:ext cx="2950470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D427200B-3CEF-4543-AFE8-A349D401B181}"/>
                </a:ext>
              </a:extLst>
            </p:cNvPr>
            <p:cNvSpPr/>
            <p:nvPr userDrawn="1"/>
          </p:nvSpPr>
          <p:spPr>
            <a:xfrm rot="16200000">
              <a:off x="-2696712" y="3059577"/>
              <a:ext cx="6349157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546F528F-8FD7-0046-8513-FB61348B37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ABC2A16-3F7C-3046-969E-5B8D87BD37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7E67ABFC-699A-5442-B333-C5B9BFC1B62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0" name="Numeral Date">
            <a:extLst>
              <a:ext uri="{FF2B5EF4-FFF2-40B4-BE49-F238E27FC236}">
                <a16:creationId xmlns:a16="http://schemas.microsoft.com/office/drawing/2014/main" id="{80B0E6A2-D15A-844C-BC00-3E06BA55C9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1" name="Name &amp; Surname">
            <a:extLst>
              <a:ext uri="{FF2B5EF4-FFF2-40B4-BE49-F238E27FC236}">
                <a16:creationId xmlns:a16="http://schemas.microsoft.com/office/drawing/2014/main" id="{4A623C1E-7ACF-624F-925D-EE13A08C6D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48" name="Subtitle">
            <a:extLst>
              <a:ext uri="{FF2B5EF4-FFF2-40B4-BE49-F238E27FC236}">
                <a16:creationId xmlns:a16="http://schemas.microsoft.com/office/drawing/2014/main" id="{C521F783-BD0D-4E45-AF8D-244BD4F709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22" name="Title 2">
            <a:extLst>
              <a:ext uri="{FF2B5EF4-FFF2-40B4-BE49-F238E27FC236}">
                <a16:creationId xmlns:a16="http://schemas.microsoft.com/office/drawing/2014/main" id="{518E6496-8922-7A41-B98C-68CD630298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44" name="Picture 43" descr="McGraw Hill red cube Logo">
            <a:extLst>
              <a:ext uri="{FF2B5EF4-FFF2-40B4-BE49-F238E27FC236}">
                <a16:creationId xmlns:a16="http://schemas.microsoft.com/office/drawing/2014/main" id="{AD397FEF-023D-054E-ACC9-0270E3770C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1550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RED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A91B10F-EC0D-C943-A3BF-5EA4083470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971799" y="728662"/>
            <a:ext cx="9220200" cy="61314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5E1BBCE-1234-3F43-9A61-5DFC3A3C1E1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A78ABDEE-3F66-9544-9A11-A8EE097D13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06850" y="2305229"/>
            <a:ext cx="6459054" cy="3699165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er adipiscing elit, sed diam 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ip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odo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qua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1200"/>
              </a:spcBef>
            </a:pPr>
            <a:endParaRPr lang="en-US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C129857A-4191-9E44-B536-ECD8F78696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6850" y="1404902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D50FC85D-27CD-FF4D-8BFA-DF4E67E5B43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728663"/>
            <a:ext cx="2971799" cy="61293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092D0355-EC65-A840-8C46-2F2D005A4B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5827C1-94DC-5940-A85A-10CDA96F28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9213483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4815806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BLU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909D505E-311A-9742-9802-6BA20700E6E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C3E5E1A-83D6-C743-AA00-2266C72F07C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6000" y="723900"/>
            <a:ext cx="6096000" cy="6134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Column 1">
            <a:extLst>
              <a:ext uri="{FF2B5EF4-FFF2-40B4-BE49-F238E27FC236}">
                <a16:creationId xmlns:a16="http://schemas.microsoft.com/office/drawing/2014/main" id="{84811588-2F3A-374E-A3FD-346248EA134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1435" y="2248300"/>
            <a:ext cx="4647804" cy="429260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e do not advise to change color and size of font from what is displayed to abide by accessibility guidance. 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BA93A090-B6E4-C645-ACB7-BA8B5BBC56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9BB60C-87AB-3B4D-9FA6-2E22249D4D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230493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BLUE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A91B10F-EC0D-C943-A3BF-5EA4083470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971799" y="728662"/>
            <a:ext cx="9220199" cy="61314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B24EE79-0614-1C44-9851-9AF8AE45475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7BE2A8A8-9F48-D340-BBE6-3CCC22FF30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06850" y="2305229"/>
            <a:ext cx="6359663" cy="3699165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We do not advise to change color and size of font from what is displayed to abide by accessibility guidance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er adipiscing elit, sed diam 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ip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odo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qua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6C2F877-471D-F64A-908A-B18F178596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6850" y="1404902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08187EC-ADB8-8D41-852E-6A8DD6FB361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728663"/>
            <a:ext cx="2971800" cy="61293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83F9BD00-9860-B24B-A115-ADCF1F873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27715F7-79AE-4445-BAD3-85182EECDA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59669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op Nav">
            <a:extLst>
              <a:ext uri="{FF2B5EF4-FFF2-40B4-BE49-F238E27FC236}">
                <a16:creationId xmlns:a16="http://schemas.microsoft.com/office/drawing/2014/main" id="{5FF64314-768A-094E-8D3E-792A34699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C4D0ECBF-4E72-77E1-6744-5633305B89F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06282726-7744-71C7-52A7-0E097341F0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Headline 2">
            <a:extLst>
              <a:ext uri="{FF2B5EF4-FFF2-40B4-BE49-F238E27FC236}">
                <a16:creationId xmlns:a16="http://schemas.microsoft.com/office/drawing/2014/main" id="{3B9320FD-ECFE-2547-B24C-41807BE745F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26A6B253-D5CC-3F6C-B9F3-19D6063668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6E612916-D698-B646-8E99-73538FEC0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hapter Title">
            <a:extLst>
              <a:ext uri="{FF2B5EF4-FFF2-40B4-BE49-F238E27FC236}">
                <a16:creationId xmlns:a16="http://schemas.microsoft.com/office/drawing/2014/main" id="{3B15BE9E-15AB-6248-BC6C-65FA9B4190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7D7113C-B06C-114F-9BC4-D9927D5EDD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507016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77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 – Text Heav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406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Path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op Nav">
            <a:extLst>
              <a:ext uri="{FF2B5EF4-FFF2-40B4-BE49-F238E27FC236}">
                <a16:creationId xmlns:a16="http://schemas.microsoft.com/office/drawing/2014/main" id="{B0DBB454-2923-D247-A793-2E1AD83EDC61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896931D-0790-784E-B4DB-8ED1ACF447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 flipH="1">
            <a:off x="1" y="3321724"/>
            <a:ext cx="12191998" cy="3027950"/>
            <a:chOff x="1" y="2621937"/>
            <a:chExt cx="12191998" cy="3027950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55043362-8F75-0745-A63A-7834495F8714}"/>
                </a:ext>
              </a:extLst>
            </p:cNvPr>
            <p:cNvGrpSpPr/>
            <p:nvPr userDrawn="1"/>
          </p:nvGrpSpPr>
          <p:grpSpPr>
            <a:xfrm>
              <a:off x="1" y="2621937"/>
              <a:ext cx="2001201" cy="233422"/>
              <a:chOff x="0" y="2656480"/>
              <a:chExt cx="9572617" cy="233422"/>
            </a:xfrm>
          </p:grpSpPr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3E66ECAB-7133-AD4B-B0EE-28A4BEF04CAC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1C11623C-AC1A-4A43-A565-9255506E6567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A8D16141-CCAB-0746-8535-98B2E101BCFA}"/>
                </a:ext>
              </a:extLst>
            </p:cNvPr>
            <p:cNvGrpSpPr/>
            <p:nvPr userDrawn="1"/>
          </p:nvGrpSpPr>
          <p:grpSpPr>
            <a:xfrm rot="5400000">
              <a:off x="428932" y="4077616"/>
              <a:ext cx="2911120" cy="233422"/>
              <a:chOff x="0" y="2656480"/>
              <a:chExt cx="9572617" cy="233422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952A5FA2-4E0D-C54C-BB84-BDD6D943E8D4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CC389AD1-AB5B-BD49-AB38-9B9B1604791E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1969F282-EF38-FC40-905F-6E5D77FB9041}"/>
                </a:ext>
              </a:extLst>
            </p:cNvPr>
            <p:cNvGrpSpPr/>
            <p:nvPr userDrawn="1"/>
          </p:nvGrpSpPr>
          <p:grpSpPr>
            <a:xfrm>
              <a:off x="1884490" y="5416463"/>
              <a:ext cx="10307509" cy="233422"/>
              <a:chOff x="0" y="2656480"/>
              <a:chExt cx="9572617" cy="233422"/>
            </a:xfrm>
          </p:grpSpPr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EFC2C7F0-EC9D-D44C-B4DD-06FE6C88E716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F7BDA258-0A0D-F741-9901-55DEAA79A460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F5B8D5-712F-414E-A26F-6FA978D44C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7" name="Chapter Title">
            <a:extLst>
              <a:ext uri="{FF2B5EF4-FFF2-40B4-BE49-F238E27FC236}">
                <a16:creationId xmlns:a16="http://schemas.microsoft.com/office/drawing/2014/main" id="{D7037DB2-618C-FC4F-9EF6-9DD3982345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48" name="Pg">
            <a:extLst>
              <a:ext uri="{FF2B5EF4-FFF2-40B4-BE49-F238E27FC236}">
                <a16:creationId xmlns:a16="http://schemas.microsoft.com/office/drawing/2014/main" id="{75E0C428-3E02-FA42-99AF-95E6B1BE253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D785BAF5-3D1A-EB44-9381-2C704C2238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7450" y="958960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0" name="01">
            <a:extLst>
              <a:ext uri="{FF2B5EF4-FFF2-40B4-BE49-F238E27FC236}">
                <a16:creationId xmlns:a16="http://schemas.microsoft.com/office/drawing/2014/main" id="{C7460D23-DB38-E34B-9711-F933BB9213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0351" y="1813832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" name="Headline 1">
            <a:extLst>
              <a:ext uri="{FF2B5EF4-FFF2-40B4-BE49-F238E27FC236}">
                <a16:creationId xmlns:a16="http://schemas.microsoft.com/office/drawing/2014/main" id="{8E9BAA1C-DF88-B445-9BDF-5E8FB00ADB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99197" y="1813832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50" name="Copy 1">
            <a:extLst>
              <a:ext uri="{FF2B5EF4-FFF2-40B4-BE49-F238E27FC236}">
                <a16:creationId xmlns:a16="http://schemas.microsoft.com/office/drawing/2014/main" id="{238D5C13-6BC6-864C-852E-088734E0F5B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12671" y="2265940"/>
            <a:ext cx="4241637" cy="4206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</p:txBody>
      </p:sp>
      <p:sp>
        <p:nvSpPr>
          <p:cNvPr id="33" name="02">
            <a:extLst>
              <a:ext uri="{FF2B5EF4-FFF2-40B4-BE49-F238E27FC236}">
                <a16:creationId xmlns:a16="http://schemas.microsoft.com/office/drawing/2014/main" id="{502F8C79-77C0-5C48-867D-B292CA3E5A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7450" y="3291803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2" name="Headline 2">
            <a:extLst>
              <a:ext uri="{FF2B5EF4-FFF2-40B4-BE49-F238E27FC236}">
                <a16:creationId xmlns:a16="http://schemas.microsoft.com/office/drawing/2014/main" id="{1217D55F-AC99-6C4B-A91A-B525B2F82D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06296" y="3291803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69" name="Copy 2">
            <a:extLst>
              <a:ext uri="{FF2B5EF4-FFF2-40B4-BE49-F238E27FC236}">
                <a16:creationId xmlns:a16="http://schemas.microsoft.com/office/drawing/2014/main" id="{6B38AE9F-747B-2849-9A2B-8E78114D04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99196" y="3698521"/>
            <a:ext cx="4241637" cy="9288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timeam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pri</a:t>
            </a:r>
            <a:r>
              <a:rPr lang="en-US"/>
              <a:t>,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ole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 ex. Sea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pertinax</a:t>
            </a:r>
            <a:r>
              <a:rPr lang="en-US"/>
              <a:t> </a:t>
            </a:r>
            <a:r>
              <a:rPr lang="en-US" err="1"/>
              <a:t>assentior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, vim.</a:t>
            </a:r>
          </a:p>
        </p:txBody>
      </p:sp>
      <p:sp>
        <p:nvSpPr>
          <p:cNvPr id="36" name="03">
            <a:extLst>
              <a:ext uri="{FF2B5EF4-FFF2-40B4-BE49-F238E27FC236}">
                <a16:creationId xmlns:a16="http://schemas.microsoft.com/office/drawing/2014/main" id="{8C7E74A7-FBB4-F44D-9FD3-F3C86CE25C9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8563" y="4758717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8" name="Headline 3">
            <a:extLst>
              <a:ext uri="{FF2B5EF4-FFF2-40B4-BE49-F238E27FC236}">
                <a16:creationId xmlns:a16="http://schemas.microsoft.com/office/drawing/2014/main" id="{A5C9EDD8-7B5C-B14B-A1FE-E4BC3B6F3C0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06296" y="4752591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70" name="Copy 3">
            <a:extLst>
              <a:ext uri="{FF2B5EF4-FFF2-40B4-BE49-F238E27FC236}">
                <a16:creationId xmlns:a16="http://schemas.microsoft.com/office/drawing/2014/main" id="{C2895A15-FE9A-7A4F-8035-F76C77E050E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12671" y="5182326"/>
            <a:ext cx="4241637" cy="9288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timeam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pri</a:t>
            </a:r>
            <a:r>
              <a:rPr lang="en-US"/>
              <a:t>,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ole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 ex. Sea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pertinax</a:t>
            </a:r>
            <a:r>
              <a:rPr lang="en-US"/>
              <a:t> </a:t>
            </a:r>
            <a:r>
              <a:rPr lang="en-US" err="1"/>
              <a:t>assentior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, vim.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C093DB3-273B-AF41-9798-B6C4095D961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935788" y="1746250"/>
            <a:ext cx="4148137" cy="51117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3459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13287A0-C8FD-6449-8310-14600C68CD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3321723"/>
            <a:ext cx="12192000" cy="3027951"/>
            <a:chOff x="0" y="2621937"/>
            <a:chExt cx="12192000" cy="3027951"/>
          </a:xfrm>
          <a:solidFill>
            <a:schemeClr val="accent1"/>
          </a:solidFill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A87DFCB-27DE-CA43-932D-377A4B7A96E8}"/>
                </a:ext>
              </a:extLst>
            </p:cNvPr>
            <p:cNvSpPr/>
            <p:nvPr userDrawn="1"/>
          </p:nvSpPr>
          <p:spPr>
            <a:xfrm>
              <a:off x="0" y="2621937"/>
              <a:ext cx="1821468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F4C1B40-A6DC-E140-A12A-4D94A2DA9CA4}"/>
                </a:ext>
              </a:extLst>
            </p:cNvPr>
            <p:cNvSpPr/>
            <p:nvPr userDrawn="1"/>
          </p:nvSpPr>
          <p:spPr>
            <a:xfrm rot="5400000">
              <a:off x="372227" y="4020914"/>
              <a:ext cx="3027951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F788E9F-4D6F-FC49-AFFB-0DB170A87861}"/>
                </a:ext>
              </a:extLst>
            </p:cNvPr>
            <p:cNvSpPr/>
            <p:nvPr userDrawn="1"/>
          </p:nvSpPr>
          <p:spPr>
            <a:xfrm>
              <a:off x="1810327" y="5419887"/>
              <a:ext cx="10381673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D26904-2D64-A041-AED1-1566B3F825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9A5F8572-960D-D448-90C2-B30ED42846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48342CED-001C-AD48-8427-D341DEBD80C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5B0E7CBC-867F-A54C-812D-51EB02B0D0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4895" y="958960"/>
            <a:ext cx="4796859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8" name="01">
            <a:extLst>
              <a:ext uri="{FF2B5EF4-FFF2-40B4-BE49-F238E27FC236}">
                <a16:creationId xmlns:a16="http://schemas.microsoft.com/office/drawing/2014/main" id="{4DD26A78-8BCB-B24A-B98B-D3C5C72014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97796" y="1718735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7" name="Headline 1">
            <a:extLst>
              <a:ext uri="{FF2B5EF4-FFF2-40B4-BE49-F238E27FC236}">
                <a16:creationId xmlns:a16="http://schemas.microsoft.com/office/drawing/2014/main" id="{F77579FA-E0A6-BE4E-B83A-0F7305BA49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46642" y="1718735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9" name="Copy 1">
            <a:extLst>
              <a:ext uri="{FF2B5EF4-FFF2-40B4-BE49-F238E27FC236}">
                <a16:creationId xmlns:a16="http://schemas.microsoft.com/office/drawing/2014/main" id="{2388C246-4C64-A44F-961B-615B097BA7B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53018" y="2156391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02">
            <a:extLst>
              <a:ext uri="{FF2B5EF4-FFF2-40B4-BE49-F238E27FC236}">
                <a16:creationId xmlns:a16="http://schemas.microsoft.com/office/drawing/2014/main" id="{830944A2-8584-BC4A-92AA-32D0B4464A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04895" y="3196706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40" name="Headline 2">
            <a:extLst>
              <a:ext uri="{FF2B5EF4-FFF2-40B4-BE49-F238E27FC236}">
                <a16:creationId xmlns:a16="http://schemas.microsoft.com/office/drawing/2014/main" id="{FDD69F5D-AB79-3845-A6F2-385D5C5B1B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53741" y="3196706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2" name="Copy 2">
            <a:extLst>
              <a:ext uri="{FF2B5EF4-FFF2-40B4-BE49-F238E27FC236}">
                <a16:creationId xmlns:a16="http://schemas.microsoft.com/office/drawing/2014/main" id="{3D89D222-7622-9044-A731-85FC8011D9A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60117" y="3634362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esti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ir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. Se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li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tinax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ntior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im.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03">
            <a:extLst>
              <a:ext uri="{FF2B5EF4-FFF2-40B4-BE49-F238E27FC236}">
                <a16:creationId xmlns:a16="http://schemas.microsoft.com/office/drawing/2014/main" id="{A0717EC4-4CFA-3746-A443-E79E29767C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6008" y="4654382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45" name="Headline 3">
            <a:extLst>
              <a:ext uri="{FF2B5EF4-FFF2-40B4-BE49-F238E27FC236}">
                <a16:creationId xmlns:a16="http://schemas.microsoft.com/office/drawing/2014/main" id="{0D57046F-F33F-6840-BE9B-EAD06F2C968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53741" y="4657494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4" name="Copy 3">
            <a:extLst>
              <a:ext uri="{FF2B5EF4-FFF2-40B4-BE49-F238E27FC236}">
                <a16:creationId xmlns:a16="http://schemas.microsoft.com/office/drawing/2014/main" id="{4F9721F3-9853-5247-BD5C-9420E958AD3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61230" y="5092596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esti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ir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. Se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li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tinax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ntior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im.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C6DB3A7-20E0-684E-9A74-A2BF27E7FB5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069975" y="1373188"/>
            <a:ext cx="4438650" cy="54848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3196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9255815" y="757008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B06EC3-1936-BF49-B989-AE8ADD2313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E3F328E6-25F0-BD44-A497-CAA2D0BA73D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B12A726-D813-1B48-A198-EE44A52DA9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0" name="Column 1">
            <a:extLst>
              <a:ext uri="{FF2B5EF4-FFF2-40B4-BE49-F238E27FC236}">
                <a16:creationId xmlns:a16="http://schemas.microsoft.com/office/drawing/2014/main" id="{A6CC86E6-0270-1A46-AD68-EA5815E015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7" name="Column 2">
            <a:extLst>
              <a:ext uri="{FF2B5EF4-FFF2-40B4-BE49-F238E27FC236}">
                <a16:creationId xmlns:a16="http://schemas.microsoft.com/office/drawing/2014/main" id="{1658EE3A-E60D-054C-BC6C-D3AC430DED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2836D77-0D00-81FC-192F-18388A3072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9771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B842EDC8-9FFB-2849-A229-4E95F1FA8F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874" cy="923533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4F1E58E-5201-7248-9458-9D353017EE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EB94A7-64EA-3C44-B1A7-F2BF742D98D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33204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Numeral Date">
            <a:extLst>
              <a:ext uri="{FF2B5EF4-FFF2-40B4-BE49-F238E27FC236}">
                <a16:creationId xmlns:a16="http://schemas.microsoft.com/office/drawing/2014/main" id="{EAEF7B50-2449-3847-A9B3-BC55E2EFB2D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5" name="Name &amp; Surname">
            <a:extLst>
              <a:ext uri="{FF2B5EF4-FFF2-40B4-BE49-F238E27FC236}">
                <a16:creationId xmlns:a16="http://schemas.microsoft.com/office/drawing/2014/main" id="{1BE2989A-80FF-6748-9A18-6CF1DD0939C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347901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41" name="Subtitle">
            <a:extLst>
              <a:ext uri="{FF2B5EF4-FFF2-40B4-BE49-F238E27FC236}">
                <a16:creationId xmlns:a16="http://schemas.microsoft.com/office/drawing/2014/main" id="{89FF4802-A4D3-434E-9424-1B51794D3F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id="{4BE9A612-EC57-864B-AADF-3B43A50F46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95195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BFB1D6C-A7E9-F346-8A13-0BCB15719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D679B90A-4AB2-E64F-865B-31FA7A647B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F695EBD-4DD2-D94C-8FE6-3BC8F009DD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53D7C1F0-4FF6-6146-83A3-619E9E7425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8D628D98-2995-2549-8BEB-B242D876BA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89F8ED53-76E5-D34E-AF57-48AB3FD450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E6948A-A3B1-F139-AEDB-5E631C58B4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CC836EA3-0289-2F4F-9CCE-4C8FA98EA37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4969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91159E-FB61-BD47-87D0-43DD404B05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0EC23C69-26E3-854A-8AEA-45792C9D8A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3E7B488B-7F58-E041-8E34-0A5108AC4422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950784B-C4DC-1048-8DB0-FBA0B7ED9C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3C493DB4-6E5A-0A49-B823-5D376D9C9E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8328127D-150E-B44E-BC89-0FD65043CC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6906905-9636-614B-830C-DF2EEB425E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EC68AE-8387-1A40-2D4A-2C57F3A6FB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9F580762-E4FC-D041-AD65-42DCA22C0A8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7399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330DBB1-932C-514D-8370-049DD406AE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E28115-1F17-E042-B158-958DD79574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ED2A3636-75CE-1E42-9B3A-DAFCDFF373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26B4EDE0-F23F-9C40-8DBC-AA1DE963BC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5DFC7AE-4EDA-5449-A40C-2DC74991B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132F1372-CD64-C741-83C2-B72000439F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733B5D7A-D46F-EE40-98CC-40E79D9F65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Column 2">
            <a:extLst>
              <a:ext uri="{FF2B5EF4-FFF2-40B4-BE49-F238E27FC236}">
                <a16:creationId xmlns:a16="http://schemas.microsoft.com/office/drawing/2014/main" id="{B1FAC4E9-985E-3F49-8B63-05362E7E7E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D9FC49DD-4F8B-CF98-C24E-3D77881819A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4728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B2C9B86-2BA7-2C49-9B52-F95410DF70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305E351-B915-BD4D-A104-CE8A78E877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46F47BCD-2606-6446-B953-7EA51944FC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9889367-1837-7547-8ADE-81B76555895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1670CB5-F520-4F4E-9416-10F61C1776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B923205D-6211-744A-A7D6-56BDC2958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22814ED1-29B4-164D-A3B2-0C0FCADE43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97E1AD9F-2EE3-7442-9BF2-6F9AFDC280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569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272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93E3DBC-5438-6E46-92A8-F6F9A5B2B2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BA38B5C-C304-CF4C-9CE1-7646337157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9E4B0D1D-604E-5845-A559-76143769A4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B370684-59CB-9D48-9E3B-4A19CF85F57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BEA7924-9977-A944-8820-5611CD6A1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E9167E63-18F2-B54A-93ED-51E4F364ED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9D45D5EF-D30C-1D4E-8C2E-CA2D9F7AD4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364274DE-F93B-234F-80D3-BADE92110F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29098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330DBB1-932C-514D-8370-049DD406AE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E28115-1F17-E042-B158-958DD79574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ED2A3636-75CE-1E42-9B3A-DAFCDFF373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26B4EDE0-F23F-9C40-8DBC-AA1DE963BC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5DFC7AE-4EDA-5449-A40C-2DC74991B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132F1372-CD64-C741-83C2-B72000439F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733B5D7A-D46F-EE40-98CC-40E79D9F65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Column 2">
            <a:extLst>
              <a:ext uri="{FF2B5EF4-FFF2-40B4-BE49-F238E27FC236}">
                <a16:creationId xmlns:a16="http://schemas.microsoft.com/office/drawing/2014/main" id="{B1FAC4E9-985E-3F49-8B63-05362E7E7E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9001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1 - Cover Slide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25C50BE7-02B9-E94F-82D1-CA65C5808638}"/>
              </a:ext>
            </a:extLst>
          </p:cNvPr>
          <p:cNvSpPr/>
          <p:nvPr userDrawn="1"/>
        </p:nvSpPr>
        <p:spPr>
          <a:xfrm>
            <a:off x="0" y="-1"/>
            <a:ext cx="12192000" cy="6860093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  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FEC3F10-5F67-304B-8825-308AD531CD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C58AD3BE-D6CF-A64B-8811-9A8A9093BA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62867" y="-3"/>
            <a:ext cx="11734660" cy="6349157"/>
            <a:chOff x="362867" y="-3"/>
            <a:chExt cx="11734660" cy="6349157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362867" y="6136112"/>
              <a:ext cx="10780357" cy="2130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/>
          </p:nvSpPr>
          <p:spPr>
            <a:xfrm rot="16200000">
              <a:off x="9515714" y="4721644"/>
              <a:ext cx="3025021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49CCB56-97C4-D743-80FD-7AEEF01BDBA1}"/>
                </a:ext>
              </a:extLst>
            </p:cNvPr>
            <p:cNvSpPr/>
            <p:nvPr/>
          </p:nvSpPr>
          <p:spPr>
            <a:xfrm>
              <a:off x="9502377" y="3324133"/>
              <a:ext cx="1640847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6888F149-DAA2-B848-801A-FCC1422F3B96}"/>
                </a:ext>
              </a:extLst>
            </p:cNvPr>
            <p:cNvSpPr/>
            <p:nvPr/>
          </p:nvSpPr>
          <p:spPr>
            <a:xfrm rot="16200000">
              <a:off x="9188261" y="3004154"/>
              <a:ext cx="858236" cy="2300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chemeClr val="bg1"/>
            </a:solidFill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9147057" y="1613790"/>
              <a:ext cx="2950470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D427200B-3CEF-4543-AFE8-A349D401B181}"/>
                </a:ext>
              </a:extLst>
            </p:cNvPr>
            <p:cNvSpPr/>
            <p:nvPr userDrawn="1"/>
          </p:nvSpPr>
          <p:spPr>
            <a:xfrm rot="16200000">
              <a:off x="-2696712" y="3059577"/>
              <a:ext cx="6349157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44" name="Picture 43" descr="McGraw Hill red cube Logo">
            <a:extLst>
              <a:ext uri="{FF2B5EF4-FFF2-40B4-BE49-F238E27FC236}">
                <a16:creationId xmlns:a16="http://schemas.microsoft.com/office/drawing/2014/main" id="{AD397FEF-023D-054E-ACC9-0270E3770C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546F528F-8FD7-0046-8513-FB61348B37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ABC2A16-3F7C-3046-969E-5B8D87BD37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Title 2">
            <a:extLst>
              <a:ext uri="{FF2B5EF4-FFF2-40B4-BE49-F238E27FC236}">
                <a16:creationId xmlns:a16="http://schemas.microsoft.com/office/drawing/2014/main" id="{518E6496-8922-7A41-B98C-68CD630298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8" name="Subtitle">
            <a:extLst>
              <a:ext uri="{FF2B5EF4-FFF2-40B4-BE49-F238E27FC236}">
                <a16:creationId xmlns:a16="http://schemas.microsoft.com/office/drawing/2014/main" id="{C521F783-BD0D-4E45-AF8D-244BD4F709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31" name="Name &amp; Surname">
            <a:extLst>
              <a:ext uri="{FF2B5EF4-FFF2-40B4-BE49-F238E27FC236}">
                <a16:creationId xmlns:a16="http://schemas.microsoft.com/office/drawing/2014/main" id="{4A623C1E-7ACF-624F-925D-EE13A08C6D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30" name="Numeral Date">
            <a:extLst>
              <a:ext uri="{FF2B5EF4-FFF2-40B4-BE49-F238E27FC236}">
                <a16:creationId xmlns:a16="http://schemas.microsoft.com/office/drawing/2014/main" id="{80B0E6A2-D15A-844C-BC00-3E06BA55C9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7E67ABFC-699A-5442-B333-C5B9BFC1B62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4746130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 – Call Out Box / Image / Copy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Arial" panose="020B0604020202020204" pitchFamily="34" charset="0"/>
            </a:endParaRP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89860AF3-B11D-E044-9D8F-73B99FD308F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5026" y="2978282"/>
            <a:ext cx="2341460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4DC76FFC-829F-2E41-8010-283209A5F5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3004" y="354173"/>
            <a:ext cx="2493543" cy="211306"/>
          </a:xfrm>
        </p:spPr>
        <p:txBody>
          <a:bodyPr>
            <a:noAutofit/>
          </a:bodyPr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FFD2E4EE-B4A2-8B45-B517-3A2016545C0B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3976B47-2A89-7E1C-4938-FDDCFFD5DF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13" name="Title">
            <a:extLst>
              <a:ext uri="{FF2B5EF4-FFF2-40B4-BE49-F238E27FC236}">
                <a16:creationId xmlns:a16="http://schemas.microsoft.com/office/drawing/2014/main" id="{4134A905-D06B-FAE7-A7C4-664E8D45C9AD}"/>
              </a:ext>
            </a:extLst>
          </p:cNvPr>
          <p:cNvSpPr txBox="1">
            <a:spLocks/>
          </p:cNvSpPr>
          <p:nvPr userDrawn="1"/>
        </p:nvSpPr>
        <p:spPr>
          <a:xfrm>
            <a:off x="682672" y="7515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69809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431BC4-FA1F-4029-B4CB-B47323FFB8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8DF5675-32B7-4D35-AE2B-978AE1197D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15AD0C-07DB-4418-8107-789D281B336C}" type="datetimeFigureOut">
              <a:rPr lang="en-US" smtClean="0"/>
              <a:t>5/28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100748-5877-469E-9BCE-C929CDCDD7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72884F-AEA2-4D7C-BC30-0D072C6B29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9BA0C4-6567-459F-93BF-7D480B1847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24639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RED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ollege student in a hoodie and jean jacket smiles broadly at something across the classroom.">
            <a:extLst>
              <a:ext uri="{FF2B5EF4-FFF2-40B4-BE49-F238E27FC236}">
                <a16:creationId xmlns:a16="http://schemas.microsoft.com/office/drawing/2014/main" id="{D3FBABBA-EFFB-8723-4DFB-B88365F2D5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3"/>
            <a:ext cx="12192000" cy="6851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isplay Date">
            <a:extLst>
              <a:ext uri="{FF2B5EF4-FFF2-40B4-BE49-F238E27FC236}">
                <a16:creationId xmlns:a16="http://schemas.microsoft.com/office/drawing/2014/main" id="{AB73912B-6039-1040-8EEA-A96C885983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2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6" name="Name &amp; Surname">
            <a:extLst>
              <a:ext uri="{FF2B5EF4-FFF2-40B4-BE49-F238E27FC236}">
                <a16:creationId xmlns:a16="http://schemas.microsoft.com/office/drawing/2014/main" id="{E00230D1-031F-1540-AAE8-BEEEB0C2CC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2" y="5508815"/>
            <a:ext cx="2954336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473FF405-19A5-2B49-9177-D4AA443302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8F299F7E-7821-614A-83A4-8369943FC2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red cube logo ">
            <a:extLst>
              <a:ext uri="{FF2B5EF4-FFF2-40B4-BE49-F238E27FC236}">
                <a16:creationId xmlns:a16="http://schemas.microsoft.com/office/drawing/2014/main" id="{91FA0969-9821-8F42-A427-8BF01C4751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634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op Nav">
            <a:extLst>
              <a:ext uri="{FF2B5EF4-FFF2-40B4-BE49-F238E27FC236}">
                <a16:creationId xmlns:a16="http://schemas.microsoft.com/office/drawing/2014/main" id="{E4D20FAE-37C6-C749-A4C0-1C7EB7AFC4CD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AC79D01-1491-1A46-B0B6-F2FEBC1BAC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9130"/>
            <a:ext cx="4086451" cy="4068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B404AE-4E2C-6049-95E3-193B665C26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DA8190D2-E978-6643-BCB2-60CDE40B83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5B59F53A-E8CF-1C40-B445-91F374C88B6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49255ED6-FF99-7C4C-872F-AE85277294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AA788A84-57E8-A34B-9A7A-191EA5DB557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B745550E-7BE1-494D-B44D-4932A01F33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959AF58F-8047-4A4F-B1B7-E6B18CF6AF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24461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GHT BLUE 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DB41E570-CA75-A746-B954-43B4FA2F75C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5D6D3B9-5F57-4D46-94D5-27811194DC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9130"/>
            <a:ext cx="4086451" cy="406829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79EF590-E588-8B41-AF56-718C495BBF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8B0874C-8B01-C74F-A1E1-E491D257E0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FC8C3A12-05AB-384D-B38A-AA60F17D987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895255C-5C21-B44A-9272-4243F8BCCC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13448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0" name="Subtitle">
            <a:extLst>
              <a:ext uri="{FF2B5EF4-FFF2-40B4-BE49-F238E27FC236}">
                <a16:creationId xmlns:a16="http://schemas.microsoft.com/office/drawing/2014/main" id="{19F8877B-D18D-CF4F-A4B3-5626E1DDC4F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24804DEE-1D02-2343-BFAA-2C9772B155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21" name="Call out Box">
            <a:extLst>
              <a:ext uri="{FF2B5EF4-FFF2-40B4-BE49-F238E27FC236}">
                <a16:creationId xmlns:a16="http://schemas.microsoft.com/office/drawing/2014/main" id="{B084D13F-DF47-7449-946E-30E399B431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5874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8798B9-84E2-EE4D-837A-4C3149D62E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8662"/>
            <a:ext cx="4086451" cy="4068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F24543A-2943-E144-B0C9-4FF147982F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A8E5E85-12FB-CF4F-8F55-864987A9A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4" name="Call out box">
            <a:extLst>
              <a:ext uri="{FF2B5EF4-FFF2-40B4-BE49-F238E27FC236}">
                <a16:creationId xmlns:a16="http://schemas.microsoft.com/office/drawing/2014/main" id="{AE11AB8B-B566-2644-B60E-0DB3F72ACC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28411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GRAY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op Nav">
            <a:extLst>
              <a:ext uri="{FF2B5EF4-FFF2-40B4-BE49-F238E27FC236}">
                <a16:creationId xmlns:a16="http://schemas.microsoft.com/office/drawing/2014/main" id="{FC231581-4C30-CC44-97C7-AF37930886B5}"/>
              </a:ext>
            </a:extLst>
          </p:cNvPr>
          <p:cNvSpPr/>
          <p:nvPr userDrawn="1"/>
        </p:nvSpPr>
        <p:spPr>
          <a:xfrm>
            <a:off x="8105548" y="728663"/>
            <a:ext cx="4086452" cy="4068295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5D441DD-A5DD-674E-B805-796E0DCE87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C6AF6692-F0B1-984D-AAE3-766630556B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77BBF566-40CB-864A-B2E3-96B94E6B17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AECED608-F065-4D58-B7C8-0C1C936EBB3A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5371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RED on CARB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op Nav">
            <a:extLst>
              <a:ext uri="{FF2B5EF4-FFF2-40B4-BE49-F238E27FC236}">
                <a16:creationId xmlns:a16="http://schemas.microsoft.com/office/drawing/2014/main" id="{5632E63E-8B1B-134B-9EA1-CD9ACBB6716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8798B9-84E2-EE4D-837A-4C3149D62E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8662"/>
            <a:ext cx="4086451" cy="4068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077483-4A49-AA4B-8B2E-9115C1ECC2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B93D016-9E70-8F45-AA00-97F5080F2D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13448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4" name="Call out box">
            <a:extLst>
              <a:ext uri="{FF2B5EF4-FFF2-40B4-BE49-F238E27FC236}">
                <a16:creationId xmlns:a16="http://schemas.microsoft.com/office/drawing/2014/main" id="{AE11AB8B-B566-2644-B60E-0DB3F72ACC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9663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RED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45B405-5520-D342-BFF1-B356801142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8" name="Chapter Title">
            <a:extLst>
              <a:ext uri="{FF2B5EF4-FFF2-40B4-BE49-F238E27FC236}">
                <a16:creationId xmlns:a16="http://schemas.microsoft.com/office/drawing/2014/main" id="{84EF5F22-40A4-F34C-9AAE-3BE16DC4D8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0" name="Pg">
            <a:extLst>
              <a:ext uri="{FF2B5EF4-FFF2-40B4-BE49-F238E27FC236}">
                <a16:creationId xmlns:a16="http://schemas.microsoft.com/office/drawing/2014/main" id="{9E56A7A9-2EA7-8342-A088-17D4FCB6BD7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280C8E3-777D-544D-80D5-B7791BC58B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17A9CB7-967C-C743-9745-5972400AEAA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6869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BLUE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217A81-5A2C-1C46-B732-6D8F752FE7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9" name="Chapter Title">
            <a:extLst>
              <a:ext uri="{FF2B5EF4-FFF2-40B4-BE49-F238E27FC236}">
                <a16:creationId xmlns:a16="http://schemas.microsoft.com/office/drawing/2014/main" id="{C868D27C-4A66-3D40-B6D9-DA3C3E77BF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6307E64D-ABD6-964C-A9ED-0F2BC5F5DFC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74E7FBC-DBF4-A843-BCC8-3AABD2752B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3932ECF-C481-0042-9C4B-69AC0151F6C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0313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VIOLET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24E95-DAF4-C047-A8A8-63805777AB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4517ED0-C392-6B42-8C16-10ABCE9124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1E2BD2C9-3898-8F41-A4FA-41AA87FB2AA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9A2B021-614E-CC4D-9416-F375CF1D86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918D5D-8AA4-3844-A0DB-F33D1F9E638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5582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GRAY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9A50EBF1-7D5E-3747-8077-326AF31A95C4}"/>
              </a:ext>
            </a:extLst>
          </p:cNvPr>
          <p:cNvSpPr/>
          <p:nvPr userDrawn="1"/>
        </p:nvSpPr>
        <p:spPr>
          <a:xfrm>
            <a:off x="8112124" y="2744788"/>
            <a:ext cx="4079875" cy="411321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2A26EE-2250-A34C-87BB-A0544E4652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4517ED0-C392-6B42-8C16-10ABCE9124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1E2BD2C9-3898-8F41-A4FA-41AA87FB2AA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24A7980-45D8-784D-8E4F-0D0053671D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88F2E5B-FAE3-7C4A-9B56-8232512481C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86937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BF5C9CE-D32E-5541-B85A-FA6797185C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D9ECAC6B-55DF-3941-B806-4599F63175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65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RED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3 children sit cross-legged on a library's floor as a book is read to them. Their faces show they are engaged with each other and the story.&#10;">
            <a:extLst>
              <a:ext uri="{FF2B5EF4-FFF2-40B4-BE49-F238E27FC236}">
                <a16:creationId xmlns:a16="http://schemas.microsoft.com/office/drawing/2014/main" id="{E7890813-9A2C-C445-8885-75DF0271E8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2"/>
            <a:ext cx="12192000" cy="6851738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isplay Date">
            <a:extLst>
              <a:ext uri="{FF2B5EF4-FFF2-40B4-BE49-F238E27FC236}">
                <a16:creationId xmlns:a16="http://schemas.microsoft.com/office/drawing/2014/main" id="{AB73912B-6039-1040-8EEA-A96C885983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2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6" name="Name &amp; Surname">
            <a:extLst>
              <a:ext uri="{FF2B5EF4-FFF2-40B4-BE49-F238E27FC236}">
                <a16:creationId xmlns:a16="http://schemas.microsoft.com/office/drawing/2014/main" id="{E00230D1-031F-1540-AAE8-BEEEB0C2CC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2" y="5508815"/>
            <a:ext cx="2954336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473FF405-19A5-2B49-9177-D4AA443302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8F299F7E-7821-614A-83A4-8369943FC2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red cube logo ">
            <a:extLst>
              <a:ext uri="{FF2B5EF4-FFF2-40B4-BE49-F238E27FC236}">
                <a16:creationId xmlns:a16="http://schemas.microsoft.com/office/drawing/2014/main" id="{91FA0969-9821-8F42-A427-8BF01C4751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975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89FB6B-4E4C-9945-8D76-D4163E41BB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ED6375A-D484-F047-8EE7-94EE16B17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693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F53538-1E06-AD4F-B660-530EE363B8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90803EF-B185-1A4B-AEB0-EB63A68BF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0E12685E-9A34-D043-B3F4-B6002C815E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21F6CFC0-4321-7D4C-8CA0-F170D87ABDF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6377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D857EF-54C6-E245-8DC5-BB2E35750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F03ADE6-71A7-C548-9F6E-82FDBBD6C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4">
                    <a:lumMod val="25000"/>
                  </a:schemeClr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64F83AE8-A8B8-434F-AA98-B36F5C5B98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2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u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ed diam non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ncidun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e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magn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tp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 Dia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65A01FB2-D53F-9144-9E6D-230FE757F09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0724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BEFBCB-AB08-7140-8567-4FD4D04CAD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0C06EC2B-3880-F14F-AE7E-34F53ED22B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2027" y="1736725"/>
            <a:ext cx="3807947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999974" y="1749425"/>
            <a:ext cx="419202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581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FB85C7-7209-144C-8D24-339DFB0EC3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EAEF899C-3DCF-8C49-9396-92C59D4A49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97574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5F642D6-3553-324F-921E-A1CD808FEC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CC77AEF-848E-1B4D-806C-A42A975189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FE6FF244-ECCD-FB4B-888A-4E5725DEDCD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EE8CE71D-FD18-3C4F-A0F0-3D4D2F934A3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2856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D857EF-54C6-E245-8DC5-BB2E35750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5E37CA6-007B-07DA-14EA-257D66F241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Pg">
            <a:extLst>
              <a:ext uri="{FF2B5EF4-FFF2-40B4-BE49-F238E27FC236}">
                <a16:creationId xmlns:a16="http://schemas.microsoft.com/office/drawing/2014/main" id="{AEE4B3C3-6D78-A2BC-C1D1-633EC0B75B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EF04848-82E9-8D9E-EDA9-0D1BEFB2B6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F46D2F08-BFA1-323D-8041-A4B3D061EF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nibh euismo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Tincidunt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erat volutpat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nonummy nibh euismod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5FC09504-150C-61B2-5FFF-68F698B29B2D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186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WHITE on RED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14B6D6C-C29B-A548-A31E-1599E90232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B65A249-F039-1443-8CC7-E8D46EA69B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864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079875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91817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RED on GRAY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0ACFF1-F760-9646-978E-A45F7A2F22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F07E239-B479-4B49-A66C-67B5E5D8E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69036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6576" y="1749425"/>
            <a:ext cx="4086451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42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BLUE on GRAY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47323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F039C16-092F-A740-B960-ADDCD3D911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E21EE8B-6895-1B4A-9E48-4992928A95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1935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21F6CFC0-4321-7D4C-8CA0-F170D87ABDF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102551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0E12685E-9A34-D043-B3F4-B6002C815E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248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BLU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n the middle of his classroom, an elementary school teacher leans down to point at a student's paper. The boy holds a red pencil and smiles at his work.">
            <a:extLst>
              <a:ext uri="{FF2B5EF4-FFF2-40B4-BE49-F238E27FC236}">
                <a16:creationId xmlns:a16="http://schemas.microsoft.com/office/drawing/2014/main" id="{E41C6DCE-1CEF-5CFA-D3FF-5A71CA239D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206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isplay Date">
            <a:extLst>
              <a:ext uri="{FF2B5EF4-FFF2-40B4-BE49-F238E27FC236}">
                <a16:creationId xmlns:a16="http://schemas.microsoft.com/office/drawing/2014/main" id="{7F129D7E-B24B-D243-8677-D2E88D580E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Name &amp; Surname">
            <a:extLst>
              <a:ext uri="{FF2B5EF4-FFF2-40B4-BE49-F238E27FC236}">
                <a16:creationId xmlns:a16="http://schemas.microsoft.com/office/drawing/2014/main" id="{958D4D3F-3519-B04D-A7AB-B2717A8E5D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59209D60-98AC-A347-9518-252F7F6486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1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813217E5-B63E-6E47-AB63-FCA8E4388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5" name="Picture 14" descr="McGraw Hill red cube logo ">
            <a:extLst>
              <a:ext uri="{FF2B5EF4-FFF2-40B4-BE49-F238E27FC236}">
                <a16:creationId xmlns:a16="http://schemas.microsoft.com/office/drawing/2014/main" id="{55C15131-0BCC-E64D-88F8-AA080E056C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471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8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LIGHT VIOLET on VIOLET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3860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E0767D-8A25-6C4A-8364-3B7A3F82FA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B463D1A8-1111-114B-9890-0CE0E14B7D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1935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65A01FB2-D53F-9144-9E6D-230FE757F09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0386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64F83AE8-A8B8-434F-AA98-B36F5C5B98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2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u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ed diam non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ncidun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e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magn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tp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 Dia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6411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260F9E-07AF-6041-980F-7BA9115C09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06F7C5-7A97-E444-BFB0-CF29BEA88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21502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96C25C-4E0B-8F45-A598-DEBA7C70A1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2695B54C-C4F8-924F-88E8-1F8C161808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7A5D2E48-E60F-5D4A-A477-CBD140170AB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46516CC-87F2-EF46-9DE4-E73DBE2F3B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7E84D754-ABE1-8845-ABAC-A3C9071350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60051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9089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LIGHT VIOLET on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B3ECB7-D9C5-7546-A06E-9CF6F67D23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20D7435D-F882-234A-BBC8-20C90114E1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C5FA2283-2471-EA4B-8E96-CF81D742253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D95F659-D768-DA4C-A100-D623125B2D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3F0DC8F-100D-6D40-8AA6-0019D1E02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154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with Bullets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C6DC658-BECF-B54E-AC16-9CF646F90F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CBAEEB7-4D07-4E47-9AD6-1302A0606B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854C5140-16E5-5B49-8707-20A9139FD7A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488891"/>
            <a:ext cx="7081838" cy="3348347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011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Bullets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3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AEA48F-3B08-6D49-AAE9-9E6A4A5E47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1E73F80A-1813-DA4F-8DE2-64EB7F213B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C5FA2283-2471-EA4B-8E96-CF81D742253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A36B83B-6BD2-D144-A9FF-1152262C28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3F0DC8F-100D-6D40-8AA6-0019D1E02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508547"/>
            <a:ext cx="7081838" cy="3328692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7156F9C9-D4B2-4542-B1D5-6C51BC91E55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6054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with Bullets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D75399-CE4F-B348-BAB4-FC82DF0607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2695B54C-C4F8-924F-88E8-1F8C161808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7A5D2E48-E60F-5D4A-A477-CBD140170AB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5F10BB2-BD13-C546-AA6B-50B0925DB9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7E84D754-ABE1-8845-ABAC-A3C9071350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508545"/>
            <a:ext cx="7081838" cy="332869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37111FFF-42FA-CE45-BFD6-0F5263B7875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999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7F32332A-D1E5-0344-8F4A-15782F24E2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1205032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D639499-1066-AF40-AE90-26A09D51A0A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941F98C-5BFA-6740-9613-30D0EA32ABE5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82A5495-6A16-7E4F-A10F-15796EDFE106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18" name="Parallelogram 17">
                <a:extLst>
                  <a:ext uri="{FF2B5EF4-FFF2-40B4-BE49-F238E27FC236}">
                    <a16:creationId xmlns:a16="http://schemas.microsoft.com/office/drawing/2014/main" id="{621988DE-95DC-EE45-B046-15D64BBAD7B4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8C4E5648-7B44-9343-B639-CE2FCAA69CE2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6DBC325-AACD-E348-B1CE-AA37A6B0B9C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360358-6D06-CC44-8D16-DB5DC58495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7C7FF68D-EE65-2F48-93AE-190A7B1020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74E3B440-1518-AF4D-8F84-A9675B04F0A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612D239-8581-4C4B-90B8-B54512088E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599A04D7-A149-394C-B40F-92490463FE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5F1C930-B750-C841-B8C0-548499F4AF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8681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200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RED and LIGHT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>
            <a:extLst>
              <a:ext uri="{FF2B5EF4-FFF2-40B4-BE49-F238E27FC236}">
                <a16:creationId xmlns:a16="http://schemas.microsoft.com/office/drawing/2014/main" id="{5177BBD6-89E5-8A4C-A618-63E9F5266B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5031"/>
            <a:ext cx="11908923" cy="5164009"/>
            <a:chOff x="-13447" y="1205031"/>
            <a:chExt cx="11908923" cy="5164009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8A07E183-013B-4343-998D-88050E602673}"/>
                </a:ext>
              </a:extLst>
            </p:cNvPr>
            <p:cNvGrpSpPr/>
            <p:nvPr userDrawn="1"/>
          </p:nvGrpSpPr>
          <p:grpSpPr>
            <a:xfrm>
              <a:off x="10799406" y="1609994"/>
              <a:ext cx="1096070" cy="200297"/>
              <a:chOff x="10799406" y="1609994"/>
              <a:chExt cx="1096070" cy="200297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128CCC9-E183-EB47-863F-66E818DAF996}"/>
                  </a:ext>
                </a:extLst>
              </p:cNvPr>
              <p:cNvSpPr/>
              <p:nvPr userDrawn="1"/>
            </p:nvSpPr>
            <p:spPr>
              <a:xfrm rot="18900000">
                <a:off x="10799406" y="1609994"/>
                <a:ext cx="1013101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BE3AC1E5-E15F-2140-9827-AA174AFAE02C}"/>
                  </a:ext>
                </a:extLst>
              </p:cNvPr>
              <p:cNvSpPr/>
              <p:nvPr userDrawn="1"/>
            </p:nvSpPr>
            <p:spPr>
              <a:xfrm rot="18900000">
                <a:off x="10879377" y="1693580"/>
                <a:ext cx="101609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0780782-1930-9744-964A-B91E28E603A0}"/>
                </a:ext>
              </a:extLst>
            </p:cNvPr>
            <p:cNvGrpSpPr/>
            <p:nvPr userDrawn="1"/>
          </p:nvGrpSpPr>
          <p:grpSpPr>
            <a:xfrm>
              <a:off x="10894136" y="1205031"/>
              <a:ext cx="940179" cy="935947"/>
              <a:chOff x="10894136" y="1205031"/>
              <a:chExt cx="940179" cy="935947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45EC1281-6FEB-A14E-8D42-5C0399A71E23}"/>
                  </a:ext>
                </a:extLst>
              </p:cNvPr>
              <p:cNvGrpSpPr/>
              <p:nvPr userDrawn="1"/>
            </p:nvGrpSpPr>
            <p:grpSpPr>
              <a:xfrm>
                <a:off x="10896080" y="1205031"/>
                <a:ext cx="938235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7" name="Parallelogram 46">
                  <a:extLst>
                    <a:ext uri="{FF2B5EF4-FFF2-40B4-BE49-F238E27FC236}">
                      <a16:creationId xmlns:a16="http://schemas.microsoft.com/office/drawing/2014/main" id="{7D96E391-66F0-0645-9D24-AEA901FA1B2B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8" name="Parallelogram 47">
                  <a:extLst>
                    <a:ext uri="{FF2B5EF4-FFF2-40B4-BE49-F238E27FC236}">
                      <a16:creationId xmlns:a16="http://schemas.microsoft.com/office/drawing/2014/main" id="{0B1B1425-47C9-7C46-926A-21890752B4C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5195C950-E43E-BE48-8808-D0948E9FAB67}"/>
                  </a:ext>
                </a:extLst>
              </p:cNvPr>
              <p:cNvGrpSpPr/>
              <p:nvPr userDrawn="1"/>
            </p:nvGrpSpPr>
            <p:grpSpPr>
              <a:xfrm>
                <a:off x="10894136" y="1318957"/>
                <a:ext cx="831297" cy="822021"/>
                <a:chOff x="3966636" y="2277354"/>
                <a:chExt cx="823347" cy="822021"/>
              </a:xfrm>
              <a:solidFill>
                <a:srgbClr val="06235B"/>
              </a:solidFill>
            </p:grpSpPr>
            <p:sp>
              <p:nvSpPr>
                <p:cNvPr id="45" name="Parallelogram 61">
                  <a:extLst>
                    <a:ext uri="{FF2B5EF4-FFF2-40B4-BE49-F238E27FC236}">
                      <a16:creationId xmlns:a16="http://schemas.microsoft.com/office/drawing/2014/main" id="{9DCC372B-6B4D-924C-A629-07FA51756A14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6" name="Parallelogram 61">
                  <a:extLst>
                    <a:ext uri="{FF2B5EF4-FFF2-40B4-BE49-F238E27FC236}">
                      <a16:creationId xmlns:a16="http://schemas.microsoft.com/office/drawing/2014/main" id="{C32C7223-D73E-5F40-B470-48EB281F38CE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B25C319-2990-5F44-9E6C-9230EDFA1D64}"/>
                </a:ext>
              </a:extLst>
            </p:cNvPr>
            <p:cNvGrpSpPr/>
            <p:nvPr userDrawn="1"/>
          </p:nvGrpSpPr>
          <p:grpSpPr>
            <a:xfrm>
              <a:off x="-13447" y="6149065"/>
              <a:ext cx="11072003" cy="219975"/>
              <a:chOff x="-13447" y="6149065"/>
              <a:chExt cx="11072003" cy="219975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05832D2A-E5F4-3147-B1F2-0F66239A3AFE}"/>
                  </a:ext>
                </a:extLst>
              </p:cNvPr>
              <p:cNvSpPr/>
              <p:nvPr userDrawn="1"/>
            </p:nvSpPr>
            <p:spPr>
              <a:xfrm>
                <a:off x="-13446" y="6149065"/>
                <a:ext cx="1102110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71BE06FC-1F60-7648-8CD3-2993C5D1A6AB}"/>
                  </a:ext>
                </a:extLst>
              </p:cNvPr>
              <p:cNvSpPr/>
              <p:nvPr userDrawn="1"/>
            </p:nvSpPr>
            <p:spPr>
              <a:xfrm>
                <a:off x="-13447" y="6252329"/>
                <a:ext cx="11072003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E7E466A8-3EE2-8347-9B9C-FE56409F0248}"/>
                </a:ext>
              </a:extLst>
            </p:cNvPr>
            <p:cNvGrpSpPr/>
            <p:nvPr userDrawn="1"/>
          </p:nvGrpSpPr>
          <p:grpSpPr>
            <a:xfrm>
              <a:off x="10905626" y="1984376"/>
              <a:ext cx="221104" cy="4371214"/>
              <a:chOff x="10905626" y="1984376"/>
              <a:chExt cx="221104" cy="4371214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B74D01D-AF7D-F546-9D97-25EB36CB7AB2}"/>
                  </a:ext>
                </a:extLst>
              </p:cNvPr>
              <p:cNvSpPr/>
              <p:nvPr userDrawn="1"/>
            </p:nvSpPr>
            <p:spPr>
              <a:xfrm rot="16200000">
                <a:off x="8837278" y="4052724"/>
                <a:ext cx="4254534" cy="11783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FDE4EF2A-625F-DE47-B16E-96317A6EF3C6}"/>
                  </a:ext>
                </a:extLst>
              </p:cNvPr>
              <p:cNvSpPr/>
              <p:nvPr userDrawn="1"/>
            </p:nvSpPr>
            <p:spPr>
              <a:xfrm rot="16200000">
                <a:off x="8907603" y="4136464"/>
                <a:ext cx="4320415" cy="117838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99DEEC-FB65-6B40-99C0-B38B502ABA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8" name="Chapter Title">
            <a:extLst>
              <a:ext uri="{FF2B5EF4-FFF2-40B4-BE49-F238E27FC236}">
                <a16:creationId xmlns:a16="http://schemas.microsoft.com/office/drawing/2014/main" id="{43C2F540-BC4F-4F4B-A13F-64EFF4C3B6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9" name="Pg">
            <a:extLst>
              <a:ext uri="{FF2B5EF4-FFF2-40B4-BE49-F238E27FC236}">
                <a16:creationId xmlns:a16="http://schemas.microsoft.com/office/drawing/2014/main" id="{A8099171-5756-5C41-97AC-1AFF8DDD9B6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CE4F8156-A223-6D49-A819-DDA0DC712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6" name="Column 1">
            <a:extLst>
              <a:ext uri="{FF2B5EF4-FFF2-40B4-BE49-F238E27FC236}">
                <a16:creationId xmlns:a16="http://schemas.microsoft.com/office/drawing/2014/main" id="{D0E48077-2819-8A49-A05C-6703D2804F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30" name="Column 2">
            <a:extLst>
              <a:ext uri="{FF2B5EF4-FFF2-40B4-BE49-F238E27FC236}">
                <a16:creationId xmlns:a16="http://schemas.microsoft.com/office/drawing/2014/main" id="{92FCC806-979D-BB45-BD58-D2DFE35FAE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7137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BLUE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girl with purple glasses purses her lips in concentration as she writes on a whiteboard with a large, black marker. Her classmate stands beside her.&#10;">
            <a:extLst>
              <a:ext uri="{FF2B5EF4-FFF2-40B4-BE49-F238E27FC236}">
                <a16:creationId xmlns:a16="http://schemas.microsoft.com/office/drawing/2014/main" id="{92362EEF-3BD7-9942-9F61-594A9380A7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33100"/>
            <a:ext cx="12192000" cy="68911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isplay Date">
            <a:extLst>
              <a:ext uri="{FF2B5EF4-FFF2-40B4-BE49-F238E27FC236}">
                <a16:creationId xmlns:a16="http://schemas.microsoft.com/office/drawing/2014/main" id="{7F129D7E-B24B-D243-8677-D2E88D580E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Name &amp; Surname">
            <a:extLst>
              <a:ext uri="{FF2B5EF4-FFF2-40B4-BE49-F238E27FC236}">
                <a16:creationId xmlns:a16="http://schemas.microsoft.com/office/drawing/2014/main" id="{958D4D3F-3519-B04D-A7AB-B2717A8E5D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59209D60-98AC-A347-9518-252F7F6486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1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813217E5-B63E-6E47-AB63-FCA8E4388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5" name="Picture 14" descr="McGraw Hill red cube logo ">
            <a:extLst>
              <a:ext uri="{FF2B5EF4-FFF2-40B4-BE49-F238E27FC236}">
                <a16:creationId xmlns:a16="http://schemas.microsoft.com/office/drawing/2014/main" id="{55C15131-0BCC-E64D-88F8-AA080E056C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252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8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No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90689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 – Call Out Box /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89FB6B-4E4C-9945-8D76-D4163E41BB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ED6375A-D484-F047-8EE7-94EE16B17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7106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776914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62E6F4-ACEF-4946-9F8B-3E94398BCD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F9E60D72-3177-4045-A466-D4B05B19B0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0" name="Pg">
            <a:extLst>
              <a:ext uri="{FF2B5EF4-FFF2-40B4-BE49-F238E27FC236}">
                <a16:creationId xmlns:a16="http://schemas.microsoft.com/office/drawing/2014/main" id="{E1F1980C-9889-C848-8872-29975F666E0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1544E1B1-08F2-4C4E-92C9-F500EEA591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0" name="01">
            <a:extLst>
              <a:ext uri="{FF2B5EF4-FFF2-40B4-BE49-F238E27FC236}">
                <a16:creationId xmlns:a16="http://schemas.microsoft.com/office/drawing/2014/main" id="{6F3CD7EC-291A-CB41-AC04-9DA32ED491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8" name="Caption 1">
            <a:extLst>
              <a:ext uri="{FF2B5EF4-FFF2-40B4-BE49-F238E27FC236}">
                <a16:creationId xmlns:a16="http://schemas.microsoft.com/office/drawing/2014/main" id="{C49CF928-74D9-7D4A-9C22-E2E436B914D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3" name="Column 1">
            <a:extLst>
              <a:ext uri="{FF2B5EF4-FFF2-40B4-BE49-F238E27FC236}">
                <a16:creationId xmlns:a16="http://schemas.microsoft.com/office/drawing/2014/main" id="{6587622A-E7E2-6B44-B626-9CC87A6C6D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3" name="02">
            <a:extLst>
              <a:ext uri="{FF2B5EF4-FFF2-40B4-BE49-F238E27FC236}">
                <a16:creationId xmlns:a16="http://schemas.microsoft.com/office/drawing/2014/main" id="{DDE4B5E5-63E4-6D4D-B63F-A8AE99EB850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9" name="Caption 2">
            <a:extLst>
              <a:ext uri="{FF2B5EF4-FFF2-40B4-BE49-F238E27FC236}">
                <a16:creationId xmlns:a16="http://schemas.microsoft.com/office/drawing/2014/main" id="{D6639B44-DFB3-1048-9F98-610715182EE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4" name="Column 2">
            <a:extLst>
              <a:ext uri="{FF2B5EF4-FFF2-40B4-BE49-F238E27FC236}">
                <a16:creationId xmlns:a16="http://schemas.microsoft.com/office/drawing/2014/main" id="{055A89E4-9DE0-AE4F-8C40-E086AFB8D5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6" name="03">
            <a:extLst>
              <a:ext uri="{FF2B5EF4-FFF2-40B4-BE49-F238E27FC236}">
                <a16:creationId xmlns:a16="http://schemas.microsoft.com/office/drawing/2014/main" id="{C62E8335-4BFD-FA41-B11F-1D2EEEB0491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0" name="Caption 3">
            <a:extLst>
              <a:ext uri="{FF2B5EF4-FFF2-40B4-BE49-F238E27FC236}">
                <a16:creationId xmlns:a16="http://schemas.microsoft.com/office/drawing/2014/main" id="{B0534917-CDE1-0641-BA42-A95A1C4C35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5" name="Column 3">
            <a:extLst>
              <a:ext uri="{FF2B5EF4-FFF2-40B4-BE49-F238E27FC236}">
                <a16:creationId xmlns:a16="http://schemas.microsoft.com/office/drawing/2014/main" id="{D357D3AF-CA84-204B-A109-31A760A1C4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9" name="04">
            <a:extLst>
              <a:ext uri="{FF2B5EF4-FFF2-40B4-BE49-F238E27FC236}">
                <a16:creationId xmlns:a16="http://schemas.microsoft.com/office/drawing/2014/main" id="{06027FA5-B9A8-984E-B10A-886620508A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1" name="Caption 4">
            <a:extLst>
              <a:ext uri="{FF2B5EF4-FFF2-40B4-BE49-F238E27FC236}">
                <a16:creationId xmlns:a16="http://schemas.microsoft.com/office/drawing/2014/main" id="{66947F2B-8897-954A-9AD2-8FCD3367A57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6" name="Column 4">
            <a:extLst>
              <a:ext uri="{FF2B5EF4-FFF2-40B4-BE49-F238E27FC236}">
                <a16:creationId xmlns:a16="http://schemas.microsoft.com/office/drawing/2014/main" id="{08B9E6CA-F2C9-0E4B-AD40-C7C2B61346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2" name="05">
            <a:extLst>
              <a:ext uri="{FF2B5EF4-FFF2-40B4-BE49-F238E27FC236}">
                <a16:creationId xmlns:a16="http://schemas.microsoft.com/office/drawing/2014/main" id="{D9009439-37E9-A14D-8A5B-6031C0EB087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62" name="Caption 5">
            <a:extLst>
              <a:ext uri="{FF2B5EF4-FFF2-40B4-BE49-F238E27FC236}">
                <a16:creationId xmlns:a16="http://schemas.microsoft.com/office/drawing/2014/main" id="{D7AC52E8-4D8C-8D4B-AB02-9A2C26B23E5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7" name="Column 5">
            <a:extLst>
              <a:ext uri="{FF2B5EF4-FFF2-40B4-BE49-F238E27FC236}">
                <a16:creationId xmlns:a16="http://schemas.microsoft.com/office/drawing/2014/main" id="{3602C7B6-9754-724B-B0BB-AE3CB5B565C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68407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62E6F4-ACEF-4946-9F8B-3E94398BCD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F9E60D72-3177-4045-A466-D4B05B19B0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0" name="Pg">
            <a:extLst>
              <a:ext uri="{FF2B5EF4-FFF2-40B4-BE49-F238E27FC236}">
                <a16:creationId xmlns:a16="http://schemas.microsoft.com/office/drawing/2014/main" id="{E1F1980C-9889-C848-8872-29975F666E0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1544E1B1-08F2-4C4E-92C9-F500EEA591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0" name="01">
            <a:extLst>
              <a:ext uri="{FF2B5EF4-FFF2-40B4-BE49-F238E27FC236}">
                <a16:creationId xmlns:a16="http://schemas.microsoft.com/office/drawing/2014/main" id="{6F3CD7EC-291A-CB41-AC04-9DA32ED491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8" name="Caption 1">
            <a:extLst>
              <a:ext uri="{FF2B5EF4-FFF2-40B4-BE49-F238E27FC236}">
                <a16:creationId xmlns:a16="http://schemas.microsoft.com/office/drawing/2014/main" id="{C49CF928-74D9-7D4A-9C22-E2E436B914D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3" name="Column 1">
            <a:extLst>
              <a:ext uri="{FF2B5EF4-FFF2-40B4-BE49-F238E27FC236}">
                <a16:creationId xmlns:a16="http://schemas.microsoft.com/office/drawing/2014/main" id="{6587622A-E7E2-6B44-B626-9CC87A6C6D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3" name="02">
            <a:extLst>
              <a:ext uri="{FF2B5EF4-FFF2-40B4-BE49-F238E27FC236}">
                <a16:creationId xmlns:a16="http://schemas.microsoft.com/office/drawing/2014/main" id="{DDE4B5E5-63E4-6D4D-B63F-A8AE99EB850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9" name="Caption 2">
            <a:extLst>
              <a:ext uri="{FF2B5EF4-FFF2-40B4-BE49-F238E27FC236}">
                <a16:creationId xmlns:a16="http://schemas.microsoft.com/office/drawing/2014/main" id="{D6639B44-DFB3-1048-9F98-610715182EE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4" name="Column 2">
            <a:extLst>
              <a:ext uri="{FF2B5EF4-FFF2-40B4-BE49-F238E27FC236}">
                <a16:creationId xmlns:a16="http://schemas.microsoft.com/office/drawing/2014/main" id="{055A89E4-9DE0-AE4F-8C40-E086AFB8D5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6" name="03">
            <a:extLst>
              <a:ext uri="{FF2B5EF4-FFF2-40B4-BE49-F238E27FC236}">
                <a16:creationId xmlns:a16="http://schemas.microsoft.com/office/drawing/2014/main" id="{C62E8335-4BFD-FA41-B11F-1D2EEEB0491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0" name="Caption 3">
            <a:extLst>
              <a:ext uri="{FF2B5EF4-FFF2-40B4-BE49-F238E27FC236}">
                <a16:creationId xmlns:a16="http://schemas.microsoft.com/office/drawing/2014/main" id="{B0534917-CDE1-0641-BA42-A95A1C4C35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5" name="Column 3">
            <a:extLst>
              <a:ext uri="{FF2B5EF4-FFF2-40B4-BE49-F238E27FC236}">
                <a16:creationId xmlns:a16="http://schemas.microsoft.com/office/drawing/2014/main" id="{D357D3AF-CA84-204B-A109-31A760A1C4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9" name="04">
            <a:extLst>
              <a:ext uri="{FF2B5EF4-FFF2-40B4-BE49-F238E27FC236}">
                <a16:creationId xmlns:a16="http://schemas.microsoft.com/office/drawing/2014/main" id="{06027FA5-B9A8-984E-B10A-886620508A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1" name="Caption 4">
            <a:extLst>
              <a:ext uri="{FF2B5EF4-FFF2-40B4-BE49-F238E27FC236}">
                <a16:creationId xmlns:a16="http://schemas.microsoft.com/office/drawing/2014/main" id="{66947F2B-8897-954A-9AD2-8FCD3367A57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6" name="Column 4">
            <a:extLst>
              <a:ext uri="{FF2B5EF4-FFF2-40B4-BE49-F238E27FC236}">
                <a16:creationId xmlns:a16="http://schemas.microsoft.com/office/drawing/2014/main" id="{08B9E6CA-F2C9-0E4B-AD40-C7C2B61346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2" name="05">
            <a:extLst>
              <a:ext uri="{FF2B5EF4-FFF2-40B4-BE49-F238E27FC236}">
                <a16:creationId xmlns:a16="http://schemas.microsoft.com/office/drawing/2014/main" id="{D9009439-37E9-A14D-8A5B-6031C0EB087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62" name="Caption 5">
            <a:extLst>
              <a:ext uri="{FF2B5EF4-FFF2-40B4-BE49-F238E27FC236}">
                <a16:creationId xmlns:a16="http://schemas.microsoft.com/office/drawing/2014/main" id="{D7AC52E8-4D8C-8D4B-AB02-9A2C26B23E5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7" name="Column 5">
            <a:extLst>
              <a:ext uri="{FF2B5EF4-FFF2-40B4-BE49-F238E27FC236}">
                <a16:creationId xmlns:a16="http://schemas.microsoft.com/office/drawing/2014/main" id="{3602C7B6-9754-724B-B0BB-AE3CB5B565C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36619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0D2407-3AEE-1846-8778-AE4EE683A8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33" name="Chapter Title">
            <a:extLst>
              <a:ext uri="{FF2B5EF4-FFF2-40B4-BE49-F238E27FC236}">
                <a16:creationId xmlns:a16="http://schemas.microsoft.com/office/drawing/2014/main" id="{7D24EF4D-8CFF-2241-8291-933EFE6292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8" name="Pg">
            <a:extLst>
              <a:ext uri="{FF2B5EF4-FFF2-40B4-BE49-F238E27FC236}">
                <a16:creationId xmlns:a16="http://schemas.microsoft.com/office/drawing/2014/main" id="{2D9A1D09-DB20-6D4D-83FD-330BCF62809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E40A5D0-FCE3-9442-99D4-4FFF20BCBC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4" name="01">
            <a:extLst>
              <a:ext uri="{FF2B5EF4-FFF2-40B4-BE49-F238E27FC236}">
                <a16:creationId xmlns:a16="http://schemas.microsoft.com/office/drawing/2014/main" id="{BAD73B57-8C4A-D743-AACF-484F43CC0B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8" name="Caption 1">
            <a:extLst>
              <a:ext uri="{FF2B5EF4-FFF2-40B4-BE49-F238E27FC236}">
                <a16:creationId xmlns:a16="http://schemas.microsoft.com/office/drawing/2014/main" id="{2B469334-6E72-5D40-AA8E-B737B44651B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3" name="Column 1">
            <a:extLst>
              <a:ext uri="{FF2B5EF4-FFF2-40B4-BE49-F238E27FC236}">
                <a16:creationId xmlns:a16="http://schemas.microsoft.com/office/drawing/2014/main" id="{42B229DB-D4B9-544F-8266-3342343568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7" name="02">
            <a:extLst>
              <a:ext uri="{FF2B5EF4-FFF2-40B4-BE49-F238E27FC236}">
                <a16:creationId xmlns:a16="http://schemas.microsoft.com/office/drawing/2014/main" id="{F469656D-C96E-9A47-B8C1-D64C8FCF777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9" name="Caption 2">
            <a:extLst>
              <a:ext uri="{FF2B5EF4-FFF2-40B4-BE49-F238E27FC236}">
                <a16:creationId xmlns:a16="http://schemas.microsoft.com/office/drawing/2014/main" id="{28383D3C-9789-A842-828F-3B5C13382A9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DFE1817B-BA1F-C949-8EA0-6C10052596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0" name="03">
            <a:extLst>
              <a:ext uri="{FF2B5EF4-FFF2-40B4-BE49-F238E27FC236}">
                <a16:creationId xmlns:a16="http://schemas.microsoft.com/office/drawing/2014/main" id="{FA4866C5-96CB-A844-A442-C93A18B11AE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0" name="Caption 3">
            <a:extLst>
              <a:ext uri="{FF2B5EF4-FFF2-40B4-BE49-F238E27FC236}">
                <a16:creationId xmlns:a16="http://schemas.microsoft.com/office/drawing/2014/main" id="{7BA46A7F-694F-8447-AAD3-ED50BF4275A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9" name="Column 3">
            <a:extLst>
              <a:ext uri="{FF2B5EF4-FFF2-40B4-BE49-F238E27FC236}">
                <a16:creationId xmlns:a16="http://schemas.microsoft.com/office/drawing/2014/main" id="{A2E9B9FF-BCCB-2247-9494-04E868F5AF0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04">
            <a:extLst>
              <a:ext uri="{FF2B5EF4-FFF2-40B4-BE49-F238E27FC236}">
                <a16:creationId xmlns:a16="http://schemas.microsoft.com/office/drawing/2014/main" id="{FFA14467-DA2F-1347-A181-87C0FDFC047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1" name="Caption 4">
            <a:extLst>
              <a:ext uri="{FF2B5EF4-FFF2-40B4-BE49-F238E27FC236}">
                <a16:creationId xmlns:a16="http://schemas.microsoft.com/office/drawing/2014/main" id="{CD36F8F1-96E3-E648-926C-EFEE29F6CFA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Column 4">
            <a:extLst>
              <a:ext uri="{FF2B5EF4-FFF2-40B4-BE49-F238E27FC236}">
                <a16:creationId xmlns:a16="http://schemas.microsoft.com/office/drawing/2014/main" id="{B161DB36-BA0A-6E48-A4BC-33D1C6F0B3E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6" name="05">
            <a:extLst>
              <a:ext uri="{FF2B5EF4-FFF2-40B4-BE49-F238E27FC236}">
                <a16:creationId xmlns:a16="http://schemas.microsoft.com/office/drawing/2014/main" id="{4F8FF71C-BC5B-B24A-944F-6C70373088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2" name="Caption 5">
            <a:extLst>
              <a:ext uri="{FF2B5EF4-FFF2-40B4-BE49-F238E27FC236}">
                <a16:creationId xmlns:a16="http://schemas.microsoft.com/office/drawing/2014/main" id="{8389548D-A6FA-B449-8592-28D45618BBA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5" name="Column 5">
            <a:extLst>
              <a:ext uri="{FF2B5EF4-FFF2-40B4-BE49-F238E27FC236}">
                <a16:creationId xmlns:a16="http://schemas.microsoft.com/office/drawing/2014/main" id="{BBFD7C98-2BE7-7E44-BCED-09D82235061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404672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-Column Cont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339568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423BF18-190B-0B45-86C7-8E7FD8D5BA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4" name="Chapter Title">
            <a:extLst>
              <a:ext uri="{FF2B5EF4-FFF2-40B4-BE49-F238E27FC236}">
                <a16:creationId xmlns:a16="http://schemas.microsoft.com/office/drawing/2014/main" id="{4C3A16F4-5E80-954F-9F5D-C17AAF09B8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68B34E99-AE30-4C49-ABBE-F3D759A453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3" name="01">
            <a:extLst>
              <a:ext uri="{FF2B5EF4-FFF2-40B4-BE49-F238E27FC236}">
                <a16:creationId xmlns:a16="http://schemas.microsoft.com/office/drawing/2014/main" id="{656B9FAF-84C0-7E43-8B08-53730DCF7EF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379440" y="1946465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9" name="Caption 1">
            <a:extLst>
              <a:ext uri="{FF2B5EF4-FFF2-40B4-BE49-F238E27FC236}">
                <a16:creationId xmlns:a16="http://schemas.microsoft.com/office/drawing/2014/main" id="{9CF9316A-A272-CB44-96B8-3E066822DFC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" name="Subtitle 1">
            <a:extLst>
              <a:ext uri="{FF2B5EF4-FFF2-40B4-BE49-F238E27FC236}">
                <a16:creationId xmlns:a16="http://schemas.microsoft.com/office/drawing/2014/main" id="{36FF7C71-04B0-1B44-BAC9-283FE6509B0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84532" y="4388629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D95B1A93-7377-6B4F-AB4C-85A0ADE1456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16113" y="4957614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4" name="02">
            <a:extLst>
              <a:ext uri="{FF2B5EF4-FFF2-40B4-BE49-F238E27FC236}">
                <a16:creationId xmlns:a16="http://schemas.microsoft.com/office/drawing/2014/main" id="{42B5B42B-7BA8-8749-A68B-767FDE1DBE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46882" y="1946703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61" name="Caption 2">
            <a:extLst>
              <a:ext uri="{FF2B5EF4-FFF2-40B4-BE49-F238E27FC236}">
                <a16:creationId xmlns:a16="http://schemas.microsoft.com/office/drawing/2014/main" id="{AB11E701-A589-1142-AAC4-7F98249E39B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673065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AC7180CB-D6CC-884D-A1D6-4238C52B1D1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507143" y="4388629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1" name="Column 2">
            <a:extLst>
              <a:ext uri="{FF2B5EF4-FFF2-40B4-BE49-F238E27FC236}">
                <a16:creationId xmlns:a16="http://schemas.microsoft.com/office/drawing/2014/main" id="{DED1FE80-97ED-A44A-AAC7-23445FA9373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538724" y="4957614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5" name="03">
            <a:extLst>
              <a:ext uri="{FF2B5EF4-FFF2-40B4-BE49-F238E27FC236}">
                <a16:creationId xmlns:a16="http://schemas.microsoft.com/office/drawing/2014/main" id="{8192EB0B-9651-B544-BDAC-EE091C49C6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3566" y="1940697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2" name="Caption 3">
            <a:extLst>
              <a:ext uri="{FF2B5EF4-FFF2-40B4-BE49-F238E27FC236}">
                <a16:creationId xmlns:a16="http://schemas.microsoft.com/office/drawing/2014/main" id="{284AA87E-52EF-2045-830C-F4AAFF5F87A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62044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2" name="Subtitle 3">
            <a:extLst>
              <a:ext uri="{FF2B5EF4-FFF2-40B4-BE49-F238E27FC236}">
                <a16:creationId xmlns:a16="http://schemas.microsoft.com/office/drawing/2014/main" id="{94D3E8CD-91A0-F547-BA17-B7867B89A68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305088" y="4391924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3" name="Column 3">
            <a:extLst>
              <a:ext uri="{FF2B5EF4-FFF2-40B4-BE49-F238E27FC236}">
                <a16:creationId xmlns:a16="http://schemas.microsoft.com/office/drawing/2014/main" id="{39B3353B-2777-5447-89A8-8604255C061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336669" y="4960909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dolore.</a:t>
            </a:r>
          </a:p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6" name="04">
            <a:extLst>
              <a:ext uri="{FF2B5EF4-FFF2-40B4-BE49-F238E27FC236}">
                <a16:creationId xmlns:a16="http://schemas.microsoft.com/office/drawing/2014/main" id="{6CFC2436-7424-CA43-969D-9AB5100DA38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822026" y="1940697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3" name="Caption 4">
            <a:extLst>
              <a:ext uri="{FF2B5EF4-FFF2-40B4-BE49-F238E27FC236}">
                <a16:creationId xmlns:a16="http://schemas.microsoft.com/office/drawing/2014/main" id="{C758B12F-C44F-274A-A913-BCB1409A8DD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25774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7" name="Subtitle 4">
            <a:extLst>
              <a:ext uri="{FF2B5EF4-FFF2-40B4-BE49-F238E27FC236}">
                <a16:creationId xmlns:a16="http://schemas.microsoft.com/office/drawing/2014/main" id="{54CCEB4F-7779-5E4B-B18D-AA167974CF5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53963" y="4388597"/>
            <a:ext cx="2044858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8" name="Column 4">
            <a:extLst>
              <a:ext uri="{FF2B5EF4-FFF2-40B4-BE49-F238E27FC236}">
                <a16:creationId xmlns:a16="http://schemas.microsoft.com/office/drawing/2014/main" id="{DDA404CD-C496-1F4F-B260-2970B74DBAD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156413" y="4957582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dolore.</a:t>
            </a:r>
          </a:p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5" name="Pg">
            <a:extLst>
              <a:ext uri="{FF2B5EF4-FFF2-40B4-BE49-F238E27FC236}">
                <a16:creationId xmlns:a16="http://schemas.microsoft.com/office/drawing/2014/main" id="{26155597-F0AF-764C-8816-67A652B266A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7037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op Nav">
            <a:extLst>
              <a:ext uri="{FF2B5EF4-FFF2-40B4-BE49-F238E27FC236}">
                <a16:creationId xmlns:a16="http://schemas.microsoft.com/office/drawing/2014/main" id="{63C8FBF6-E07B-8749-9CE6-AF0D6291DEB0}"/>
              </a:ext>
            </a:extLst>
          </p:cNvPr>
          <p:cNvSpPr/>
          <p:nvPr userDrawn="1"/>
        </p:nvSpPr>
        <p:spPr>
          <a:xfrm>
            <a:off x="0" y="728664"/>
            <a:ext cx="12191999" cy="6129336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60BAF2-64CC-3A4E-B752-82EE147FA7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7" name="Chapter Title">
            <a:extLst>
              <a:ext uri="{FF2B5EF4-FFF2-40B4-BE49-F238E27FC236}">
                <a16:creationId xmlns:a16="http://schemas.microsoft.com/office/drawing/2014/main" id="{01EF1194-E7BA-8641-B7C3-306A8956F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5" name="Pg">
            <a:extLst>
              <a:ext uri="{FF2B5EF4-FFF2-40B4-BE49-F238E27FC236}">
                <a16:creationId xmlns:a16="http://schemas.microsoft.com/office/drawing/2014/main" id="{844B4F85-BEB9-7D42-92C7-7EC215876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BEE164E9-B94E-9149-9694-5422386548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4" name="01">
            <a:extLst>
              <a:ext uri="{FF2B5EF4-FFF2-40B4-BE49-F238E27FC236}">
                <a16:creationId xmlns:a16="http://schemas.microsoft.com/office/drawing/2014/main" id="{95B3BA13-C080-9848-9EE1-B9E9CA19F9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8" name="Caption 1">
            <a:extLst>
              <a:ext uri="{FF2B5EF4-FFF2-40B4-BE49-F238E27FC236}">
                <a16:creationId xmlns:a16="http://schemas.microsoft.com/office/drawing/2014/main" id="{AF070C41-6C94-3A4A-978A-F440F161765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3" name="Column 1">
            <a:extLst>
              <a:ext uri="{FF2B5EF4-FFF2-40B4-BE49-F238E27FC236}">
                <a16:creationId xmlns:a16="http://schemas.microsoft.com/office/drawing/2014/main" id="{03D79C4C-8F32-6B4B-9FFB-9C9CFDBBDF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7" name="02">
            <a:extLst>
              <a:ext uri="{FF2B5EF4-FFF2-40B4-BE49-F238E27FC236}">
                <a16:creationId xmlns:a16="http://schemas.microsoft.com/office/drawing/2014/main" id="{CA6ABE95-681E-C34A-B8B6-569502D902E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9" name="Caption 2">
            <a:extLst>
              <a:ext uri="{FF2B5EF4-FFF2-40B4-BE49-F238E27FC236}">
                <a16:creationId xmlns:a16="http://schemas.microsoft.com/office/drawing/2014/main" id="{23600F69-272F-C24D-B914-C33E8706485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88C5C30B-1103-594F-A8AA-BF1A6908C9D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0" name="03">
            <a:extLst>
              <a:ext uri="{FF2B5EF4-FFF2-40B4-BE49-F238E27FC236}">
                <a16:creationId xmlns:a16="http://schemas.microsoft.com/office/drawing/2014/main" id="{E3A9735A-C485-864B-B59D-5F45DEADA83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0" name="Caption 3">
            <a:extLst>
              <a:ext uri="{FF2B5EF4-FFF2-40B4-BE49-F238E27FC236}">
                <a16:creationId xmlns:a16="http://schemas.microsoft.com/office/drawing/2014/main" id="{373489FE-C2DA-EF46-949E-CA23CB51A54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9" name="Column 3">
            <a:extLst>
              <a:ext uri="{FF2B5EF4-FFF2-40B4-BE49-F238E27FC236}">
                <a16:creationId xmlns:a16="http://schemas.microsoft.com/office/drawing/2014/main" id="{4FF6A20C-BEDE-1547-803D-D2BD830DE10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04">
            <a:extLst>
              <a:ext uri="{FF2B5EF4-FFF2-40B4-BE49-F238E27FC236}">
                <a16:creationId xmlns:a16="http://schemas.microsoft.com/office/drawing/2014/main" id="{ADC59BD8-C0C2-684A-8085-EBDE4B767D9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1" name="Caption 4">
            <a:extLst>
              <a:ext uri="{FF2B5EF4-FFF2-40B4-BE49-F238E27FC236}">
                <a16:creationId xmlns:a16="http://schemas.microsoft.com/office/drawing/2014/main" id="{7C02D760-3953-CF49-A639-E32179CD656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Column 4">
            <a:extLst>
              <a:ext uri="{FF2B5EF4-FFF2-40B4-BE49-F238E27FC236}">
                <a16:creationId xmlns:a16="http://schemas.microsoft.com/office/drawing/2014/main" id="{F4EA188A-7D90-7B4B-A837-4262F19D75D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6" name="05">
            <a:extLst>
              <a:ext uri="{FF2B5EF4-FFF2-40B4-BE49-F238E27FC236}">
                <a16:creationId xmlns:a16="http://schemas.microsoft.com/office/drawing/2014/main" id="{2EFF1D36-CE17-1949-929C-138DF560583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2" name="Caption 5">
            <a:extLst>
              <a:ext uri="{FF2B5EF4-FFF2-40B4-BE49-F238E27FC236}">
                <a16:creationId xmlns:a16="http://schemas.microsoft.com/office/drawing/2014/main" id="{A0B65ACF-BEB4-5149-816B-A56877ED8C6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5" name="Column 5">
            <a:extLst>
              <a:ext uri="{FF2B5EF4-FFF2-40B4-BE49-F238E27FC236}">
                <a16:creationId xmlns:a16="http://schemas.microsoft.com/office/drawing/2014/main" id="{D17CA303-7361-2D47-BB94-C5EFD44B71B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287942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 Conten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99577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A4367-3689-7945-B203-0D5FD9A1E7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50B2CB3F-B6DB-5040-BDF4-7D5177457F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Pg">
            <a:extLst>
              <a:ext uri="{FF2B5EF4-FFF2-40B4-BE49-F238E27FC236}">
                <a16:creationId xmlns:a16="http://schemas.microsoft.com/office/drawing/2014/main" id="{3FA4234B-1496-4443-A1CD-3B9779E171F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5B9C971-A59C-E24F-9F13-F9E4BED677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Title Line 1">
            <a:extLst>
              <a:ext uri="{FF2B5EF4-FFF2-40B4-BE49-F238E27FC236}">
                <a16:creationId xmlns:a16="http://schemas.microsoft.com/office/drawing/2014/main" id="{460B94BE-2F57-214D-AA8B-96BF52A1AB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985924" y="1995932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93049BCE-22FC-114B-8D98-3B5794B607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71091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6" name="Title Line 2">
            <a:extLst>
              <a:ext uri="{FF2B5EF4-FFF2-40B4-BE49-F238E27FC236}">
                <a16:creationId xmlns:a16="http://schemas.microsoft.com/office/drawing/2014/main" id="{E31E5F7E-95A4-D243-9357-C2B9239A652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149850" y="1993226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3" name="Column 2">
            <a:extLst>
              <a:ext uri="{FF2B5EF4-FFF2-40B4-BE49-F238E27FC236}">
                <a16:creationId xmlns:a16="http://schemas.microsoft.com/office/drawing/2014/main" id="{CFA1A9FC-B5F4-4B4F-87A1-973B4BF19A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36106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7" name="Title Line 3">
            <a:extLst>
              <a:ext uri="{FF2B5EF4-FFF2-40B4-BE49-F238E27FC236}">
                <a16:creationId xmlns:a16="http://schemas.microsoft.com/office/drawing/2014/main" id="{CEBEEFA7-BA38-3640-8D05-BA35D9C9FA5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313775" y="2006927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5" name="Column 3">
            <a:extLst>
              <a:ext uri="{FF2B5EF4-FFF2-40B4-BE49-F238E27FC236}">
                <a16:creationId xmlns:a16="http://schemas.microsoft.com/office/drawing/2014/main" id="{42638CEB-FE41-3149-B18E-D43AD55BB2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01121" y="2681936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6383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 Conten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99577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3CD589-820C-E34C-BB24-CFC41AFBF4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922674B1-49AA-9341-8C46-794E759907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BD0B7D5-0192-F646-9D3E-35CC8C2AFEB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F3A6DBF-0DEF-DB4B-A0B6-951847384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" name="Title line 1">
            <a:extLst>
              <a:ext uri="{FF2B5EF4-FFF2-40B4-BE49-F238E27FC236}">
                <a16:creationId xmlns:a16="http://schemas.microsoft.com/office/drawing/2014/main" id="{6E0352A1-1A9E-4B4D-AC82-71F39E86DC6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26892" y="1995932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93049BCE-22FC-114B-8D98-3B5794B607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2059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7" name="Title line 2">
            <a:extLst>
              <a:ext uri="{FF2B5EF4-FFF2-40B4-BE49-F238E27FC236}">
                <a16:creationId xmlns:a16="http://schemas.microsoft.com/office/drawing/2014/main" id="{16F4E1AB-6264-DF41-8025-CF302045B0D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75168" y="1993226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3" name="Column 2">
            <a:extLst>
              <a:ext uri="{FF2B5EF4-FFF2-40B4-BE49-F238E27FC236}">
                <a16:creationId xmlns:a16="http://schemas.microsoft.com/office/drawing/2014/main" id="{CFA1A9FC-B5F4-4B4F-87A1-973B4BF19A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61424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8" name="Title line 3">
            <a:extLst>
              <a:ext uri="{FF2B5EF4-FFF2-40B4-BE49-F238E27FC236}">
                <a16:creationId xmlns:a16="http://schemas.microsoft.com/office/drawing/2014/main" id="{4005FD16-CA36-F449-BFD1-723D089159F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523443" y="2006927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5" name="Column 3">
            <a:extLst>
              <a:ext uri="{FF2B5EF4-FFF2-40B4-BE49-F238E27FC236}">
                <a16:creationId xmlns:a16="http://schemas.microsoft.com/office/drawing/2014/main" id="{42638CEB-FE41-3149-B18E-D43AD55BB2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0789" y="2681936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21" name="Title line 4">
            <a:extLst>
              <a:ext uri="{FF2B5EF4-FFF2-40B4-BE49-F238E27FC236}">
                <a16:creationId xmlns:a16="http://schemas.microsoft.com/office/drawing/2014/main" id="{85D83742-7B64-2842-9FD7-C3DB4A118D5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271718" y="1998724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7" name="Column 4">
            <a:extLst>
              <a:ext uri="{FF2B5EF4-FFF2-40B4-BE49-F238E27FC236}">
                <a16:creationId xmlns:a16="http://schemas.microsoft.com/office/drawing/2014/main" id="{EB2FCF4E-2315-A74B-9A73-3DEC8F3B2CB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60154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8113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200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80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VIOLET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college students holding their notebooks share a laugh outside a school building.">
            <a:extLst>
              <a:ext uri="{FF2B5EF4-FFF2-40B4-BE49-F238E27FC236}">
                <a16:creationId xmlns:a16="http://schemas.microsoft.com/office/drawing/2014/main" id="{ED6FB341-F7F5-9842-DF4D-6D3D22DF86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AF19FE6E-ABD4-0641-9E4F-ECE7E253AD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0" name="Name &amp; Surname">
            <a:extLst>
              <a:ext uri="{FF2B5EF4-FFF2-40B4-BE49-F238E27FC236}">
                <a16:creationId xmlns:a16="http://schemas.microsoft.com/office/drawing/2014/main" id="{7526AB89-E183-9647-B0C6-8DBEA8E2B6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A35E7039-7E5C-EA46-8A76-6BF0BD49C6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EE8D7D83-3733-6544-9A18-692EAF055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1" name="Picture 10" descr="McGraw Hill red cube logo ">
            <a:extLst>
              <a:ext uri="{FF2B5EF4-FFF2-40B4-BE49-F238E27FC236}">
                <a16:creationId xmlns:a16="http://schemas.microsoft.com/office/drawing/2014/main" id="{2133F0EF-B82D-AB41-BC98-F67769B6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630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36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46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18818EE-D37D-50E7-F166-FDA5EEEF49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6B1683-BE6C-994F-8C71-4655A6D7B5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D28FF114-93DC-FC49-9934-51730AECAC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B53FBC86-B154-F249-A0EA-A3F4998B886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B2093CD-2406-1349-966B-57058BD810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473606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597434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463824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6833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0511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1C4C9A5-0868-2701-BC50-B6336F7A9B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4C2075-62BB-E24C-8076-CA96EF9E70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DB23EC58-BCB7-634A-BB1D-B02CF96ACF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28B7895A-CD17-BE4E-8275-3B988852FF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441567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301403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0D918B0F-8556-604B-BAA8-A6C7C9B54BD5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371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B603EE6-48B1-A9DD-3E8C-9F040098CC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FF60865-49F2-1743-ACC3-2007E090A7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937ACD68-09C5-D248-B40F-4B1840FDA9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430514C7-0A12-D14C-9687-4F3B4194A5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441567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301403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E60BAC26-48D6-E248-B41C-2CCDFE98648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8421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1946E26-8BE7-2D48-86AC-6974E1F63A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13CBDD01-29C4-1745-98AD-13788A1461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3A98EC6B-7BB0-C948-B167-15145EFB6A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E366E92-31CB-554F-81AB-17D313A7A12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tat 1">
            <a:extLst>
              <a:ext uri="{FF2B5EF4-FFF2-40B4-BE49-F238E27FC236}">
                <a16:creationId xmlns:a16="http://schemas.microsoft.com/office/drawing/2014/main" id="{C9E00311-1B4A-3A45-B2E1-0DEC2AF42F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13" name="Stat 1 Caption">
            <a:extLst>
              <a:ext uri="{FF2B5EF4-FFF2-40B4-BE49-F238E27FC236}">
                <a16:creationId xmlns:a16="http://schemas.microsoft.com/office/drawing/2014/main" id="{38EEFF29-C9F6-F448-9DE3-B7BED4EA285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4" name="Stat 1 Copy">
            <a:extLst>
              <a:ext uri="{FF2B5EF4-FFF2-40B4-BE49-F238E27FC236}">
                <a16:creationId xmlns:a16="http://schemas.microsoft.com/office/drawing/2014/main" id="{B83545D4-1FE8-DC43-9A81-6F250435877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5" name="Stat 2">
            <a:extLst>
              <a:ext uri="{FF2B5EF4-FFF2-40B4-BE49-F238E27FC236}">
                <a16:creationId xmlns:a16="http://schemas.microsoft.com/office/drawing/2014/main" id="{4ABC467F-D107-4747-9586-1125DD08C17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6" name="Stat 2 Caption">
            <a:extLst>
              <a:ext uri="{FF2B5EF4-FFF2-40B4-BE49-F238E27FC236}">
                <a16:creationId xmlns:a16="http://schemas.microsoft.com/office/drawing/2014/main" id="{8BD7BB4D-CE28-1E4B-9665-50E32471A5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7" name="Stat 2 Copy">
            <a:extLst>
              <a:ext uri="{FF2B5EF4-FFF2-40B4-BE49-F238E27FC236}">
                <a16:creationId xmlns:a16="http://schemas.microsoft.com/office/drawing/2014/main" id="{EB835A56-B62C-D14B-903D-610071ADC1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Pg">
            <a:extLst>
              <a:ext uri="{FF2B5EF4-FFF2-40B4-BE49-F238E27FC236}">
                <a16:creationId xmlns:a16="http://schemas.microsoft.com/office/drawing/2014/main" id="{0116EA0E-2BFB-CB43-BCB2-E6275846FF8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380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A4452E8-D98B-7D49-89F4-1988EA1CF4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EB64CB2E-C92D-124D-B974-0B1896DAFD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F928CD4C-6268-8747-985F-C59CF046D0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2B551DAC-27EA-C24C-B386-EC1AF8D644A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Stat 1">
            <a:extLst>
              <a:ext uri="{FF2B5EF4-FFF2-40B4-BE49-F238E27FC236}">
                <a16:creationId xmlns:a16="http://schemas.microsoft.com/office/drawing/2014/main" id="{F98DED31-4635-444D-919C-2B2B0E840F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23" name="Stat 1 Caption">
            <a:extLst>
              <a:ext uri="{FF2B5EF4-FFF2-40B4-BE49-F238E27FC236}">
                <a16:creationId xmlns:a16="http://schemas.microsoft.com/office/drawing/2014/main" id="{331C2C7A-A19F-4D41-AF05-994255D0A1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24" name="Stat 1 Copy">
            <a:extLst>
              <a:ext uri="{FF2B5EF4-FFF2-40B4-BE49-F238E27FC236}">
                <a16:creationId xmlns:a16="http://schemas.microsoft.com/office/drawing/2014/main" id="{085B1092-89BA-6141-A8AF-C417ED755A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5" name="Stat 2">
            <a:extLst>
              <a:ext uri="{FF2B5EF4-FFF2-40B4-BE49-F238E27FC236}">
                <a16:creationId xmlns:a16="http://schemas.microsoft.com/office/drawing/2014/main" id="{3F2FC970-AFDD-3442-9C3D-1624B73CCDE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26" name="Stat 2 Caption">
            <a:extLst>
              <a:ext uri="{FF2B5EF4-FFF2-40B4-BE49-F238E27FC236}">
                <a16:creationId xmlns:a16="http://schemas.microsoft.com/office/drawing/2014/main" id="{2364D5FE-A84F-B94C-A9A4-9473F667299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27" name="Stat 2 Copy">
            <a:extLst>
              <a:ext uri="{FF2B5EF4-FFF2-40B4-BE49-F238E27FC236}">
                <a16:creationId xmlns:a16="http://schemas.microsoft.com/office/drawing/2014/main" id="{C7FFAD34-E2B5-C749-BB8B-450A44FC17C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Pg">
            <a:extLst>
              <a:ext uri="{FF2B5EF4-FFF2-40B4-BE49-F238E27FC236}">
                <a16:creationId xmlns:a16="http://schemas.microsoft.com/office/drawing/2014/main" id="{D5A19222-FB40-1547-B796-7486CB30C68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45870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1CF8A6E-8B6C-6747-84E2-7847C60A12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7F34424B-8820-7344-948C-E6A37BDAAA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1B342B07-82AB-0B4B-B28F-D846667724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1DD162E7-2D04-F14B-8AE4-67BBDF2FB66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Stat 1">
            <a:extLst>
              <a:ext uri="{FF2B5EF4-FFF2-40B4-BE49-F238E27FC236}">
                <a16:creationId xmlns:a16="http://schemas.microsoft.com/office/drawing/2014/main" id="{8719B257-7CF2-6F44-B644-631E6E5FD3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18" name="Stat 1 Caption">
            <a:extLst>
              <a:ext uri="{FF2B5EF4-FFF2-40B4-BE49-F238E27FC236}">
                <a16:creationId xmlns:a16="http://schemas.microsoft.com/office/drawing/2014/main" id="{57760C02-0E47-7F4E-A806-343D235853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9" name="Stat 1 Copy">
            <a:extLst>
              <a:ext uri="{FF2B5EF4-FFF2-40B4-BE49-F238E27FC236}">
                <a16:creationId xmlns:a16="http://schemas.microsoft.com/office/drawing/2014/main" id="{EBA0D26B-DB92-4246-9287-4BA2780352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Stat 2">
            <a:extLst>
              <a:ext uri="{FF2B5EF4-FFF2-40B4-BE49-F238E27FC236}">
                <a16:creationId xmlns:a16="http://schemas.microsoft.com/office/drawing/2014/main" id="{B255A082-26C5-3C48-A4C3-084ADA5B70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21" name="Stat 2 Caption">
            <a:extLst>
              <a:ext uri="{FF2B5EF4-FFF2-40B4-BE49-F238E27FC236}">
                <a16:creationId xmlns:a16="http://schemas.microsoft.com/office/drawing/2014/main" id="{A2FDE0EB-7516-884E-8EAB-A79C468518D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22" name="Stat 2 Copy">
            <a:extLst>
              <a:ext uri="{FF2B5EF4-FFF2-40B4-BE49-F238E27FC236}">
                <a16:creationId xmlns:a16="http://schemas.microsoft.com/office/drawing/2014/main" id="{26318E31-81CB-5441-B056-B8D276EEF00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2F9A6A3-1428-324C-BC1A-CD4F519AE9C5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60018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A4367-3689-7945-B203-0D5FD9A1E7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50B2CB3F-B6DB-5040-BDF4-7D5177457F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Pg">
            <a:extLst>
              <a:ext uri="{FF2B5EF4-FFF2-40B4-BE49-F238E27FC236}">
                <a16:creationId xmlns:a16="http://schemas.microsoft.com/office/drawing/2014/main" id="{3FA4234B-1496-4443-A1CD-3B9779E171F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0496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8DB4CB4-1406-7FBC-0880-CB7AB119A95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A96E7CA0-8C3C-3EBD-6ED3-9BB769E80B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72137697-89EC-9F1C-0D19-51DF4306ED77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6652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619D03A-D2EB-A738-BA8D-A429CF6572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9809" y="1366152"/>
            <a:ext cx="2133800" cy="4871033"/>
          </a:xfrm>
          <a:prstGeom prst="rect">
            <a:avLst/>
          </a:prstGeom>
        </p:spPr>
      </p:pic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DFB25E2-62AC-989D-869E-A1139CC820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rgbClr val="092467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1E4CAEF0-50E4-ADAC-E4A7-03D572F8956D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0959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7D88A5F-5A6A-CE48-F65D-46990A73FB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BFF64230-07C6-7B2F-A4C6-3382A20E66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33CDB57F-9CE5-5F88-4534-111CCA92285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10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4.xml"/><Relationship Id="rId2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112.xml"/><Relationship Id="rId5" Type="http://schemas.openxmlformats.org/officeDocument/2006/relationships/theme" Target="../theme/theme10.xml"/><Relationship Id="rId4" Type="http://schemas.openxmlformats.org/officeDocument/2006/relationships/slideLayout" Target="../slideLayouts/slideLayout11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.xml"/><Relationship Id="rId13" Type="http://schemas.openxmlformats.org/officeDocument/2006/relationships/slideLayout" Target="../slideLayouts/slideLayout128.xml"/><Relationship Id="rId18" Type="http://schemas.openxmlformats.org/officeDocument/2006/relationships/slideLayout" Target="../slideLayouts/slideLayout133.xml"/><Relationship Id="rId3" Type="http://schemas.openxmlformats.org/officeDocument/2006/relationships/slideLayout" Target="../slideLayouts/slideLayout118.xml"/><Relationship Id="rId21" Type="http://schemas.openxmlformats.org/officeDocument/2006/relationships/image" Target="../media/image14.emf"/><Relationship Id="rId7" Type="http://schemas.openxmlformats.org/officeDocument/2006/relationships/slideLayout" Target="../slideLayouts/slideLayout122.xml"/><Relationship Id="rId12" Type="http://schemas.openxmlformats.org/officeDocument/2006/relationships/slideLayout" Target="../slideLayouts/slideLayout127.xml"/><Relationship Id="rId17" Type="http://schemas.openxmlformats.org/officeDocument/2006/relationships/slideLayout" Target="../slideLayouts/slideLayout132.xml"/><Relationship Id="rId2" Type="http://schemas.openxmlformats.org/officeDocument/2006/relationships/slideLayout" Target="../slideLayouts/slideLayout117.xml"/><Relationship Id="rId16" Type="http://schemas.openxmlformats.org/officeDocument/2006/relationships/slideLayout" Target="../slideLayouts/slideLayout131.xml"/><Relationship Id="rId20" Type="http://schemas.openxmlformats.org/officeDocument/2006/relationships/theme" Target="../theme/theme11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slideLayout" Target="../slideLayouts/slideLayout126.xml"/><Relationship Id="rId5" Type="http://schemas.openxmlformats.org/officeDocument/2006/relationships/slideLayout" Target="../slideLayouts/slideLayout120.xml"/><Relationship Id="rId15" Type="http://schemas.openxmlformats.org/officeDocument/2006/relationships/slideLayout" Target="../slideLayouts/slideLayout130.xml"/><Relationship Id="rId10" Type="http://schemas.openxmlformats.org/officeDocument/2006/relationships/slideLayout" Target="../slideLayouts/slideLayout125.xml"/><Relationship Id="rId19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4.xml"/><Relationship Id="rId14" Type="http://schemas.openxmlformats.org/officeDocument/2006/relationships/slideLayout" Target="../slideLayouts/slideLayout12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13" Type="http://schemas.openxmlformats.org/officeDocument/2006/relationships/slideLayout" Target="../slideLayouts/slideLayout147.xml"/><Relationship Id="rId18" Type="http://schemas.openxmlformats.org/officeDocument/2006/relationships/image" Target="../media/image24.emf"/><Relationship Id="rId3" Type="http://schemas.openxmlformats.org/officeDocument/2006/relationships/slideLayout" Target="../slideLayouts/slideLayout137.xml"/><Relationship Id="rId7" Type="http://schemas.openxmlformats.org/officeDocument/2006/relationships/slideLayout" Target="../slideLayouts/slideLayout141.xml"/><Relationship Id="rId12" Type="http://schemas.openxmlformats.org/officeDocument/2006/relationships/slideLayout" Target="../slideLayouts/slideLayout146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36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5" Type="http://schemas.openxmlformats.org/officeDocument/2006/relationships/slideLayout" Target="../slideLayouts/slideLayout139.xml"/><Relationship Id="rId15" Type="http://schemas.openxmlformats.org/officeDocument/2006/relationships/theme" Target="../theme/theme12.xml"/><Relationship Id="rId10" Type="http://schemas.openxmlformats.org/officeDocument/2006/relationships/slideLayout" Target="../slideLayouts/slideLayout144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slideLayout" Target="../slideLayouts/slideLayout148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14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image" Target="../media/image14.emf"/><Relationship Id="rId5" Type="http://schemas.openxmlformats.org/officeDocument/2006/relationships/slideLayout" Target="../slideLayouts/slideLayout32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image" Target="../media/image14.emf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26" Type="http://schemas.openxmlformats.org/officeDocument/2006/relationships/slideLayout" Target="../slideLayouts/slideLayout75.xml"/><Relationship Id="rId3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70.xml"/><Relationship Id="rId34" Type="http://schemas.openxmlformats.org/officeDocument/2006/relationships/theme" Target="../theme/theme6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5" Type="http://schemas.openxmlformats.org/officeDocument/2006/relationships/slideLayout" Target="../slideLayouts/slideLayout74.xml"/><Relationship Id="rId33" Type="http://schemas.openxmlformats.org/officeDocument/2006/relationships/slideLayout" Target="../slideLayouts/slideLayout82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69.xml"/><Relationship Id="rId29" Type="http://schemas.openxmlformats.org/officeDocument/2006/relationships/slideLayout" Target="../slideLayouts/slideLayout78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slideLayout" Target="../slideLayouts/slideLayout73.xml"/><Relationship Id="rId32" Type="http://schemas.openxmlformats.org/officeDocument/2006/relationships/slideLayout" Target="../slideLayouts/slideLayout81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72.xml"/><Relationship Id="rId28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31" Type="http://schemas.openxmlformats.org/officeDocument/2006/relationships/slideLayout" Target="../slideLayouts/slideLayout80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slideLayout" Target="../slideLayouts/slideLayout71.xml"/><Relationship Id="rId27" Type="http://schemas.openxmlformats.org/officeDocument/2006/relationships/slideLayout" Target="../slideLayouts/slideLayout76.xml"/><Relationship Id="rId30" Type="http://schemas.openxmlformats.org/officeDocument/2006/relationships/slideLayout" Target="../slideLayouts/slideLayout79.xml"/><Relationship Id="rId35" Type="http://schemas.openxmlformats.org/officeDocument/2006/relationships/image" Target="../media/image14.emf"/><Relationship Id="rId8" Type="http://schemas.openxmlformats.org/officeDocument/2006/relationships/slideLayout" Target="../slideLayouts/slideLayout5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slideLayout" Target="../slideLayouts/slideLayout95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2" Type="http://schemas.openxmlformats.org/officeDocument/2006/relationships/slideLayout" Target="../slideLayouts/slideLayout84.xml"/><Relationship Id="rId16" Type="http://schemas.openxmlformats.org/officeDocument/2006/relationships/image" Target="../media/image14.emf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slideLayout" Target="../slideLayouts/slideLayout9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image" Target="../media/image14.emf"/><Relationship Id="rId5" Type="http://schemas.openxmlformats.org/officeDocument/2006/relationships/slideLayout" Target="../slideLayouts/slideLayout101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slideLayout" Target="../slideLayouts/slideLayout108.xml"/><Relationship Id="rId7" Type="http://schemas.openxmlformats.org/officeDocument/2006/relationships/theme" Target="../theme/theme9.xml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110.xml"/><Relationship Id="rId4" Type="http://schemas.openxmlformats.org/officeDocument/2006/relationships/slideLayout" Target="../slideLayouts/slideLayout10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1786E930-AFA0-0F43-AA19-D751AD4C7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PowerPoint Template</a:t>
            </a:r>
          </a:p>
        </p:txBody>
      </p:sp>
    </p:spTree>
    <p:extLst>
      <p:ext uri="{BB962C8B-B14F-4D97-AF65-F5344CB8AC3E}">
        <p14:creationId xmlns:p14="http://schemas.microsoft.com/office/powerpoint/2010/main" val="2479644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4019" r:id="rId6"/>
    <p:sldLayoutId id="2147483666" r:id="rId7"/>
    <p:sldLayoutId id="2147484018" r:id="rId8"/>
    <p:sldLayoutId id="2147483667" r:id="rId9"/>
    <p:sldLayoutId id="2147484017" r:id="rId10"/>
    <p:sldLayoutId id="2147483668" r:id="rId11"/>
    <p:sldLayoutId id="2147483669" r:id="rId12"/>
    <p:sldLayoutId id="2147484025" r:id="rId13"/>
    <p:sldLayoutId id="2147483670" r:id="rId14"/>
    <p:sldLayoutId id="2147483671" r:id="rId15"/>
    <p:sldLayoutId id="2147483672" r:id="rId16"/>
    <p:sldLayoutId id="2147484026" r:id="rId17"/>
    <p:sldLayoutId id="2147483673" r:id="rId18"/>
    <p:sldLayoutId id="2147484030" r:id="rId19"/>
    <p:sldLayoutId id="2147484031" r:id="rId20"/>
    <p:sldLayoutId id="2147484038" r:id="rId2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3429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indent="-28575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indent="-28575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1786E930-AFA0-0F43-AA19-D751AD4C7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PowerPoint Template</a:t>
            </a:r>
          </a:p>
        </p:txBody>
      </p:sp>
    </p:spTree>
    <p:extLst>
      <p:ext uri="{BB962C8B-B14F-4D97-AF65-F5344CB8AC3E}">
        <p14:creationId xmlns:p14="http://schemas.microsoft.com/office/powerpoint/2010/main" val="1397303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4024" r:id="rId3"/>
    <p:sldLayoutId id="2147483875" r:id="rId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3649380-23AE-854E-9BC8-848AEBBD08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6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195602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925" r:id="rId3"/>
    <p:sldLayoutId id="2147483883" r:id="rId4"/>
    <p:sldLayoutId id="2147483896" r:id="rId5"/>
    <p:sldLayoutId id="2147483898" r:id="rId6"/>
    <p:sldLayoutId id="2147483897" r:id="rId7"/>
    <p:sldLayoutId id="2147483880" r:id="rId8"/>
    <p:sldLayoutId id="2147483869" r:id="rId9"/>
    <p:sldLayoutId id="2147483885" r:id="rId10"/>
    <p:sldLayoutId id="2147483886" r:id="rId11"/>
    <p:sldLayoutId id="2147483888" r:id="rId12"/>
    <p:sldLayoutId id="2147483922" r:id="rId13"/>
    <p:sldLayoutId id="2147483923" r:id="rId14"/>
    <p:sldLayoutId id="2147483924" r:id="rId15"/>
    <p:sldLayoutId id="2147483887" r:id="rId16"/>
    <p:sldLayoutId id="2147483966" r:id="rId17"/>
    <p:sldLayoutId id="2147483967" r:id="rId18"/>
    <p:sldLayoutId id="2147483968" r:id="rId1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6" pos="3840" userDrawn="1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2285" y="315430"/>
            <a:ext cx="11313466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2285" y="1825625"/>
            <a:ext cx="11313466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7B5927-1581-294F-B094-8C1C0027CF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568413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06" imgH="403" progId="TCLayout.ActiveDocument.1">
                  <p:embed/>
                </p:oleObj>
              </mc:Choice>
              <mc:Fallback>
                <p:oleObj name="think-cell Slide" r:id="rId17" imgW="406" imgH="40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7B5927-1581-294F-B094-8C1C0027CF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06F0E88-EA22-6F44-8DFA-A231331C1A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5026A7-14AA-E140-B827-E87D9F8435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r>
              <a:rPr lang="en-US"/>
              <a:t>77</a:t>
            </a:r>
          </a:p>
        </p:txBody>
      </p:sp>
    </p:spTree>
    <p:extLst>
      <p:ext uri="{BB962C8B-B14F-4D97-AF65-F5344CB8AC3E}">
        <p14:creationId xmlns:p14="http://schemas.microsoft.com/office/powerpoint/2010/main" val="3241445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791" r:id="rId2"/>
    <p:sldLayoutId id="2147483803" r:id="rId3"/>
    <p:sldLayoutId id="2147483784" r:id="rId4"/>
    <p:sldLayoutId id="2147483785" r:id="rId5"/>
    <p:sldLayoutId id="2147483793" r:id="rId6"/>
    <p:sldLayoutId id="2147483795" r:id="rId7"/>
    <p:sldLayoutId id="2147483796" r:id="rId8"/>
    <p:sldLayoutId id="2147483797" r:id="rId9"/>
    <p:sldLayoutId id="2147483798" r:id="rId10"/>
    <p:sldLayoutId id="2147483799" r:id="rId11"/>
    <p:sldLayoutId id="2147483800" r:id="rId12"/>
    <p:sldLayoutId id="2147483801" r:id="rId13"/>
    <p:sldLayoutId id="2147484037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Magazine Grotesque Bold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868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6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72162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2" r:id="rId1"/>
    <p:sldLayoutId id="2147483884" r:id="rId2"/>
    <p:sldLayoutId id="2147484034" r:id="rId3"/>
    <p:sldLayoutId id="2147484033" r:id="rId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6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EFEEBE7-2301-DAE8-5FED-C2008DAEA8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212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5" r:id="rId2"/>
    <p:sldLayoutId id="2147483729" r:id="rId3"/>
    <p:sldLayoutId id="2147483724" r:id="rId4"/>
    <p:sldLayoutId id="2147483726" r:id="rId5"/>
    <p:sldLayoutId id="2147483728" r:id="rId6"/>
    <p:sldLayoutId id="2147483727" r:id="rId7"/>
    <p:sldLayoutId id="2147483730" r:id="rId8"/>
    <p:sldLayoutId id="2147483731" r:id="rId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2864E1BE-276C-2AE9-C09F-9B5AE473E8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222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851" r:id="rId3"/>
    <p:sldLayoutId id="2147483853" r:id="rId4"/>
    <p:sldLayoutId id="2147483854" r:id="rId5"/>
    <p:sldLayoutId id="2147483823" r:id="rId6"/>
    <p:sldLayoutId id="2147484007" r:id="rId7"/>
    <p:sldLayoutId id="2147484008" r:id="rId8"/>
    <p:sldLayoutId id="2147484009" r:id="rId9"/>
    <p:sldLayoutId id="2147484010" r:id="rId10"/>
    <p:sldLayoutId id="2147484040" r:id="rId11"/>
    <p:sldLayoutId id="2147484041" r:id="rId12"/>
    <p:sldLayoutId id="2147484042" r:id="rId1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343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AA7FF24D-3083-F0BB-5689-D44065EF22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17356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991" r:id="rId4"/>
    <p:sldLayoutId id="2147483992" r:id="rId5"/>
    <p:sldLayoutId id="2147483759" r:id="rId6"/>
    <p:sldLayoutId id="2147483760" r:id="rId7"/>
    <p:sldLayoutId id="2147483761" r:id="rId8"/>
    <p:sldLayoutId id="2147483762" r:id="rId9"/>
    <p:sldLayoutId id="2147483804" r:id="rId10"/>
    <p:sldLayoutId id="2147483807" r:id="rId11"/>
    <p:sldLayoutId id="2147483810" r:id="rId12"/>
    <p:sldLayoutId id="2147483813" r:id="rId13"/>
    <p:sldLayoutId id="2147483805" r:id="rId14"/>
    <p:sldLayoutId id="2147483808" r:id="rId15"/>
    <p:sldLayoutId id="2147483811" r:id="rId16"/>
    <p:sldLayoutId id="2147484028" r:id="rId17"/>
    <p:sldLayoutId id="2147483806" r:id="rId18"/>
    <p:sldLayoutId id="2147483809" r:id="rId19"/>
    <p:sldLayoutId id="2147483812" r:id="rId20"/>
    <p:sldLayoutId id="2147483815" r:id="rId21"/>
    <p:sldLayoutId id="2147483816" r:id="rId22"/>
    <p:sldLayoutId id="2147483817" r:id="rId23"/>
    <p:sldLayoutId id="2147483818" r:id="rId24"/>
    <p:sldLayoutId id="2147483819" r:id="rId25"/>
    <p:sldLayoutId id="2147484027" r:id="rId26"/>
    <p:sldLayoutId id="2147483822" r:id="rId27"/>
    <p:sldLayoutId id="2147484006" r:id="rId28"/>
    <p:sldLayoutId id="2147483994" r:id="rId29"/>
    <p:sldLayoutId id="2147483995" r:id="rId30"/>
    <p:sldLayoutId id="2147483996" r:id="rId31"/>
    <p:sldLayoutId id="2147484003" r:id="rId32"/>
    <p:sldLayoutId id="2147484039" r:id="rId3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343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5D7CD0AD-3FBA-9E80-E8BE-87BF97A9B0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0731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4029" r:id="rId2"/>
    <p:sldLayoutId id="2147483764" r:id="rId3"/>
    <p:sldLayoutId id="2147483993" r:id="rId4"/>
    <p:sldLayoutId id="2147483765" r:id="rId5"/>
    <p:sldLayoutId id="2147483766" r:id="rId6"/>
    <p:sldLayoutId id="2147483767" r:id="rId7"/>
    <p:sldLayoutId id="2147483792" r:id="rId8"/>
    <p:sldLayoutId id="2147484035" r:id="rId9"/>
    <p:sldLayoutId id="2147483794" r:id="rId10"/>
    <p:sldLayoutId id="2147483997" r:id="rId11"/>
    <p:sldLayoutId id="2147483998" r:id="rId12"/>
    <p:sldLayoutId id="2147483999" r:id="rId13"/>
    <p:sldLayoutId id="2147483983" r:id="rId1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42F38E9-DDDD-6F6F-F59C-5DF1E3FF6F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487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6" pos="38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42F38E9-DDDD-6F6F-F59C-5DF1E3FF6F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315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6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5.xml"/><Relationship Id="rId4" Type="http://schemas.openxmlformats.org/officeDocument/2006/relationships/image" Target="../media/image4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5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5.xml"/><Relationship Id="rId6" Type="http://schemas.openxmlformats.org/officeDocument/2006/relationships/image" Target="../media/image50.png"/><Relationship Id="rId5" Type="http://schemas.openxmlformats.org/officeDocument/2006/relationships/image" Target="../media/image49.emf"/><Relationship Id="rId4" Type="http://schemas.openxmlformats.org/officeDocument/2006/relationships/image" Target="../media/image48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2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tudysharpen.com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5.xml"/><Relationship Id="rId4" Type="http://schemas.openxmlformats.org/officeDocument/2006/relationships/image" Target="../media/image30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hyperlink" Target="https://apps.apple.com/us/app/sharpen-college-exam-prep/id1595642363" TargetMode="External"/><Relationship Id="rId7" Type="http://schemas.openxmlformats.org/officeDocument/2006/relationships/image" Target="../media/image54.png"/><Relationship Id="rId2" Type="http://schemas.openxmlformats.org/officeDocument/2006/relationships/hyperlink" Target="https://play.google.com/store/apps/details?id=com.mheducation.redi&amp;hl=en_US" TargetMode="External"/><Relationship Id="rId1" Type="http://schemas.openxmlformats.org/officeDocument/2006/relationships/slideLayout" Target="../slideLayouts/slideLayout125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hyperlink" Target="http://www.studysharpen.com" TargetMode="External"/><Relationship Id="rId9" Type="http://schemas.openxmlformats.org/officeDocument/2006/relationships/image" Target="../media/image3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heducation.com/highered/support/student/connect.html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3.xml"/><Relationship Id="rId6" Type="http://schemas.openxmlformats.org/officeDocument/2006/relationships/image" Target="../media/image57.png"/><Relationship Id="rId5" Type="http://schemas.openxmlformats.org/officeDocument/2006/relationships/image" Target="../media/image30.png"/><Relationship Id="rId4" Type="http://schemas.openxmlformats.org/officeDocument/2006/relationships/image" Target="../media/image5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3.xml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3.xml"/><Relationship Id="rId5" Type="http://schemas.openxmlformats.org/officeDocument/2006/relationships/image" Target="../media/image58.png"/><Relationship Id="rId4" Type="http://schemas.openxmlformats.org/officeDocument/2006/relationships/hyperlink" Target="http://connect.mheducation.com/class/abc1234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2.xml"/><Relationship Id="rId4" Type="http://schemas.openxmlformats.org/officeDocument/2006/relationships/image" Target="../media/image5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2.xml"/><Relationship Id="rId4" Type="http://schemas.openxmlformats.org/officeDocument/2006/relationships/image" Target="../media/image3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3.xml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6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63.png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6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64.png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13" Type="http://schemas.openxmlformats.org/officeDocument/2006/relationships/image" Target="../media/image30.pn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12" Type="http://schemas.openxmlformats.org/officeDocument/2006/relationships/image" Target="../media/image40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34.svg"/><Relationship Id="rId11" Type="http://schemas.openxmlformats.org/officeDocument/2006/relationships/image" Target="../media/image39.png"/><Relationship Id="rId5" Type="http://schemas.openxmlformats.org/officeDocument/2006/relationships/image" Target="../media/image33.png"/><Relationship Id="rId10" Type="http://schemas.openxmlformats.org/officeDocument/2006/relationships/image" Target="../media/image38.svg"/><Relationship Id="rId4" Type="http://schemas.openxmlformats.org/officeDocument/2006/relationships/image" Target="../media/image32.svg"/><Relationship Id="rId9" Type="http://schemas.openxmlformats.org/officeDocument/2006/relationships/image" Target="../media/image37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4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9.xml"/><Relationship Id="rId4" Type="http://schemas.openxmlformats.org/officeDocument/2006/relationships/image" Target="../media/image43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5.xml"/><Relationship Id="rId4" Type="http://schemas.openxmlformats.org/officeDocument/2006/relationships/image" Target="../media/image4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CC9C857-E79A-F545-BAB3-908AA67D15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2983" y="1605014"/>
            <a:ext cx="4831300" cy="1420574"/>
          </a:xfrm>
        </p:spPr>
        <p:txBody>
          <a:bodyPr>
            <a:normAutofit/>
          </a:bodyPr>
          <a:lstStyle/>
          <a:p>
            <a:r>
              <a:rPr lang="en-US" dirty="0"/>
              <a:t>McGraw Hill Connect ®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5FD6EFB-269E-194A-A965-948F2D8D67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tudent Registration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AF26C10-15BC-1541-80F0-D47778F796A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08087" y="4122407"/>
            <a:ext cx="4887913" cy="723986"/>
          </a:xfrm>
        </p:spPr>
        <p:txBody>
          <a:bodyPr/>
          <a:lstStyle/>
          <a:p>
            <a:r>
              <a:rPr lang="en-US" dirty="0"/>
              <a:t>Connect Standalone with Inclusive Access</a:t>
            </a:r>
          </a:p>
        </p:txBody>
      </p:sp>
    </p:spTree>
    <p:extLst>
      <p:ext uri="{BB962C8B-B14F-4D97-AF65-F5344CB8AC3E}">
        <p14:creationId xmlns:p14="http://schemas.microsoft.com/office/powerpoint/2010/main" val="14314224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D447DA-790C-DC08-B987-3996A92DD5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CF51B435-6E5D-6EBD-DD9B-4F902C1222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C464A10-43F9-3430-2972-CA8AE92783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4919D9B-5B7C-9214-E598-94D20ED89F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sz="2200"/>
              <a:t>Sharpen is the ultimate college study app for exam prep</a:t>
            </a:r>
            <a:endParaRPr lang="en-US" sz="2200" b="0">
              <a:solidFill>
                <a:srgbClr val="000000"/>
              </a:solidFill>
            </a:endParaRPr>
          </a:p>
        </p:txBody>
      </p:sp>
      <p:pic>
        <p:nvPicPr>
          <p:cNvPr id="15" name="Picture 14" descr="Screenshots of Sharpen features on a mobile phone, left to right:&#10;Videos.&#10;Chapter summaries.&#10;Flashcards.&#10;Quiz bank for exam prep.&#10;The Improve section.">
            <a:extLst>
              <a:ext uri="{FF2B5EF4-FFF2-40B4-BE49-F238E27FC236}">
                <a16:creationId xmlns:a16="http://schemas.microsoft.com/office/drawing/2014/main" id="{4D7329B5-9022-32EB-171E-63A1E3CCA9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5854" y="1519947"/>
            <a:ext cx="11600292" cy="3438932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42CA7E5D-8879-FB6D-FC14-543B8C66B393}"/>
              </a:ext>
            </a:extLst>
          </p:cNvPr>
          <p:cNvSpPr txBox="1"/>
          <p:nvPr/>
        </p:nvSpPr>
        <p:spPr>
          <a:xfrm>
            <a:off x="403621" y="5248436"/>
            <a:ext cx="11653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DEO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4357D24-178B-42E5-AB3D-6FDD8A46F991}"/>
              </a:ext>
            </a:extLst>
          </p:cNvPr>
          <p:cNvSpPr txBox="1"/>
          <p:nvPr/>
        </p:nvSpPr>
        <p:spPr>
          <a:xfrm>
            <a:off x="2569458" y="5170976"/>
            <a:ext cx="180777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APTER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MMARI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28A1D04-FFA7-A18E-39EB-83779F730771}"/>
              </a:ext>
            </a:extLst>
          </p:cNvPr>
          <p:cNvSpPr txBox="1"/>
          <p:nvPr/>
        </p:nvSpPr>
        <p:spPr>
          <a:xfrm>
            <a:off x="5067562" y="5294602"/>
            <a:ext cx="20057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LASHCARD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44B6544-82B2-43AD-ED31-6A2AB6AC827A}"/>
              </a:ext>
            </a:extLst>
          </p:cNvPr>
          <p:cNvSpPr txBox="1"/>
          <p:nvPr/>
        </p:nvSpPr>
        <p:spPr>
          <a:xfrm>
            <a:off x="7543610" y="5140714"/>
            <a:ext cx="200574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UIZ BANK FOR EXAM PREP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663C3E1-5627-25CB-FD55-C9E58B6367C0}"/>
              </a:ext>
            </a:extLst>
          </p:cNvPr>
          <p:cNvSpPr txBox="1"/>
          <p:nvPr/>
        </p:nvSpPr>
        <p:spPr>
          <a:xfrm>
            <a:off x="10239677" y="5110764"/>
            <a:ext cx="14773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PROVE SECTION</a:t>
            </a:r>
          </a:p>
        </p:txBody>
      </p:sp>
    </p:spTree>
    <p:extLst>
      <p:ext uri="{BB962C8B-B14F-4D97-AF65-F5344CB8AC3E}">
        <p14:creationId xmlns:p14="http://schemas.microsoft.com/office/powerpoint/2010/main" val="6731786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BFA2E2-6E98-FB93-D509-F1AA294120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A8EBE8FB-1025-7E4C-41DA-28BE7BBAF9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00517CD-2ED7-68EF-1595-2AECB3384B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22" name="Title 21">
            <a:extLst>
              <a:ext uri="{FF2B5EF4-FFF2-40B4-BE49-F238E27FC236}">
                <a16:creationId xmlns:a16="http://schemas.microsoft.com/office/drawing/2014/main" id="{FA73ADC0-44B8-C9A8-1083-D46A818AAF79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383971" y="896257"/>
            <a:ext cx="7614557" cy="40011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ownload the Sharpen College Study App – Scan This Code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​</a:t>
            </a:r>
          </a:p>
        </p:txBody>
      </p:sp>
      <p:pic>
        <p:nvPicPr>
          <p:cNvPr id="7" name="Google Shape;407;p82" descr="Sharpen logo.">
            <a:extLst>
              <a:ext uri="{FF2B5EF4-FFF2-40B4-BE49-F238E27FC236}">
                <a16:creationId xmlns:a16="http://schemas.microsoft.com/office/drawing/2014/main" id="{EE10A906-799B-8E13-E8B4-B8ECD06573B8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4195975" y="1296154"/>
            <a:ext cx="3566160" cy="895006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Picture 19" descr="QR code to download Sharpen.">
            <a:extLst>
              <a:ext uri="{FF2B5EF4-FFF2-40B4-BE49-F238E27FC236}">
                <a16:creationId xmlns:a16="http://schemas.microsoft.com/office/drawing/2014/main" id="{31BD18CA-E462-26DA-7134-B0B2AD11974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95975" y="2042355"/>
            <a:ext cx="3642847" cy="3653776"/>
          </a:xfrm>
          <a:prstGeom prst="rect">
            <a:avLst/>
          </a:prstGeom>
        </p:spPr>
      </p:pic>
      <p:pic>
        <p:nvPicPr>
          <p:cNvPr id="10" name="Picture 10" descr="Apple App Store icon.">
            <a:extLst>
              <a:ext uri="{FF2B5EF4-FFF2-40B4-BE49-F238E27FC236}">
                <a16:creationId xmlns:a16="http://schemas.microsoft.com/office/drawing/2014/main" id="{2BD7A65A-CB13-3540-19A1-A6F893A6D8C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60" b="5482"/>
          <a:stretch/>
        </p:blipFill>
        <p:spPr bwMode="auto">
          <a:xfrm>
            <a:off x="3527861" y="5875918"/>
            <a:ext cx="2451194" cy="76074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2" descr="Google Play Store icon.">
            <a:extLst>
              <a:ext uri="{FF2B5EF4-FFF2-40B4-BE49-F238E27FC236}">
                <a16:creationId xmlns:a16="http://schemas.microsoft.com/office/drawing/2014/main" id="{C72D5321-6A39-DE58-DBE9-530C5E8E848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50" t="16958" r="10618" b="17565"/>
          <a:stretch/>
        </p:blipFill>
        <p:spPr bwMode="auto">
          <a:xfrm>
            <a:off x="6122230" y="5875918"/>
            <a:ext cx="2451195" cy="76074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593259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EC51BE-8D8C-5D3A-1A88-37C9291EE7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77E6315-7A9A-B783-CF4C-EDA0D5DD88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0117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, here are tips to make the most of Connect: 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7B6105D-F1A2-29D1-4CA2-FB347CD25F7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634" y="1736496"/>
            <a:ext cx="10706330" cy="4374092"/>
          </a:xfrm>
        </p:spPr>
        <p:txBody>
          <a:bodyPr vert="horz" lIns="91440" tIns="45720" rIns="91440" bIns="45720" rtlCol="0" anchor="t">
            <a:normAutofit fontScale="92500" lnSpcReduction="10000"/>
          </a:bodyPr>
          <a:lstStyle/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tay Organized </a:t>
            </a:r>
            <a:endParaRPr lang="en-US" b="1">
              <a:solidFill>
                <a:schemeClr val="tx1"/>
              </a:solidFill>
            </a:endParaRPr>
          </a:p>
          <a:p>
            <a:pPr marL="572770" lvl="1" indent="-342900">
              <a:spcAft>
                <a:spcPts val="600"/>
              </a:spcAft>
            </a:pPr>
            <a:r>
              <a:rPr lang="en-US" sz="1800">
                <a:latin typeface="Arial"/>
                <a:cs typeface="Arial"/>
              </a:rPr>
              <a:t>Digital Course Planner has all your upcoming Connect assignments in one place, and you can customize calendar alerts. </a:t>
            </a:r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indent="0">
              <a:spcAft>
                <a:spcPts val="600"/>
              </a:spcAft>
              <a:buNone/>
            </a:pPr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Focus On What Matters</a:t>
            </a:r>
          </a:p>
          <a:p>
            <a:pPr marL="572770" lvl="1" indent="-342900">
              <a:spcAft>
                <a:spcPts val="600"/>
              </a:spcAft>
            </a:pPr>
            <a:r>
              <a:rPr lang="en-US" sz="1800">
                <a:latin typeface="Arial"/>
                <a:cs typeface="Arial"/>
              </a:rPr>
              <a:t>Use Reports to track your performance and understanding of key concepts.</a:t>
            </a:r>
          </a:p>
          <a:p>
            <a:pPr marL="572770" lvl="1" indent="-342900">
              <a:spcAft>
                <a:spcPts val="600"/>
              </a:spcAft>
            </a:pPr>
            <a:endParaRPr lang="en-US" sz="1800"/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Learn On-the-Go</a:t>
            </a:r>
          </a:p>
          <a:p>
            <a:pPr marL="572770" lvl="1" indent="-342900">
              <a:spcAft>
                <a:spcPts val="600"/>
              </a:spcAft>
            </a:pPr>
            <a:r>
              <a:rPr lang="en-US" sz="1800">
                <a:latin typeface="Arial"/>
                <a:cs typeface="Arial"/>
              </a:rPr>
              <a:t>Download the free </a:t>
            </a:r>
            <a:r>
              <a:rPr lang="en-US" sz="1800" err="1">
                <a:latin typeface="Arial"/>
                <a:cs typeface="Arial"/>
              </a:rPr>
              <a:t>ReadAnywhere</a:t>
            </a:r>
            <a:r>
              <a:rPr lang="en-US" sz="1800">
                <a:latin typeface="Arial"/>
                <a:cs typeface="Arial"/>
              </a:rPr>
              <a:t> app to take your eBook* and </a:t>
            </a:r>
            <a:r>
              <a:rPr lang="en-US" sz="1800" err="1">
                <a:latin typeface="Arial"/>
                <a:cs typeface="Arial"/>
              </a:rPr>
              <a:t>SmartBook</a:t>
            </a:r>
            <a:r>
              <a:rPr lang="en-US" sz="1800" baseline="30000">
                <a:latin typeface="Arial"/>
                <a:cs typeface="Arial"/>
              </a:rPr>
              <a:t>®</a:t>
            </a:r>
            <a:r>
              <a:rPr lang="en-US" sz="1800">
                <a:latin typeface="Arial"/>
                <a:cs typeface="Arial"/>
              </a:rPr>
              <a:t>* with you—online and offline, 24/7. </a:t>
            </a:r>
          </a:p>
          <a:p>
            <a:pPr lvl="1" indent="0">
              <a:spcAft>
                <a:spcPts val="600"/>
              </a:spcAft>
              <a:buNone/>
            </a:pPr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4950" indent="-234950"/>
            <a:r>
              <a:rPr lang="en-US" sz="1400">
                <a:latin typeface="Arial"/>
                <a:cs typeface="Arial"/>
              </a:rPr>
              <a:t>*</a:t>
            </a:r>
            <a:r>
              <a:rPr lang="en-US" sz="1400" i="1" err="1">
                <a:latin typeface="Arial"/>
                <a:cs typeface="Arial"/>
              </a:rPr>
              <a:t>ReadAnywhere</a:t>
            </a:r>
            <a:r>
              <a:rPr lang="en-US" sz="1400" i="1">
                <a:latin typeface="Arial"/>
                <a:cs typeface="Arial"/>
              </a:rPr>
              <a:t> supports newer eBooks and </a:t>
            </a:r>
            <a:r>
              <a:rPr lang="en-US" sz="1400" i="1" err="1">
                <a:latin typeface="Arial"/>
                <a:cs typeface="Arial"/>
              </a:rPr>
              <a:t>SmartBook</a:t>
            </a:r>
            <a:r>
              <a:rPr lang="en-US" sz="1400" i="1">
                <a:latin typeface="Arial"/>
                <a:cs typeface="Arial"/>
              </a:rPr>
              <a:t>. May not be available in your specific Connect course.</a:t>
            </a:r>
            <a:endParaRPr lang="en-US">
              <a:latin typeface="Arial"/>
              <a:cs typeface="Arial"/>
            </a:endParaRPr>
          </a:p>
          <a:p>
            <a:endParaRPr lang="en-US"/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8FD1BB5C-83F9-D82B-97A0-611541C62A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8BDDDD4-0CCE-5CC2-6BC3-51BFB1453D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78722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03D2C7-0C6B-79EB-491C-346307AE70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58B42C3-BC93-F8B8-DD07-9E5BF92828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0117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, here are some tips to ace your exams with Sharpen: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182B4A1-71EF-18ED-DCD8-78270D5BD1D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634" y="1482496"/>
            <a:ext cx="10706330" cy="4374092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Exam Prep</a:t>
            </a:r>
            <a:endParaRPr lang="en-US" b="1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Spend 10 minutes on Quiz Bank to confirm what you know and check Improve for tips to master concepts you missed. </a:t>
            </a:r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Weekly Review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Flip through Sharpen flashcards for 5 minutes to test yourself on chapters covered in class.   </a:t>
            </a:r>
          </a:p>
          <a:p>
            <a:pPr marL="572770" lvl="1" indent="-342900">
              <a:spcAft>
                <a:spcPts val="600"/>
              </a:spcAft>
              <a:buFont typeface="Arial"/>
              <a:buChar char="•"/>
            </a:pPr>
            <a:endParaRPr lang="en-US" sz="1800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Refresher Before Class</a:t>
            </a:r>
            <a:endParaRPr lang="en-US" b="1"/>
          </a:p>
          <a:p>
            <a:pPr marL="572770" lvl="1" indent="-342900">
              <a:spcAft>
                <a:spcPts val="600"/>
              </a:spcAft>
              <a:buFont typeface="Arial"/>
              <a:buChar char="•"/>
            </a:pPr>
            <a:r>
              <a:rPr lang="en-US" sz="1800">
                <a:latin typeface="Arial"/>
                <a:cs typeface="Arial"/>
              </a:rPr>
              <a:t>Spend 5 minutes on Sharpen summaries and videos to review key concepts.</a:t>
            </a:r>
            <a:endParaRPr lang="en-US" sz="1800"/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24/7 Access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Download the Sharpen mobile phone app for iOS or Android. On laptops or tablets, log into Sharpen at </a:t>
            </a:r>
            <a:r>
              <a:rPr lang="en-US" sz="1800">
                <a:latin typeface="Arial"/>
                <a:cs typeface="Arial"/>
                <a:hlinkClick r:id="rId3"/>
              </a:rPr>
              <a:t>www.studysharpen.com</a:t>
            </a:r>
            <a:r>
              <a:rPr lang="en-US" sz="1800">
                <a:latin typeface="Arial"/>
                <a:cs typeface="Arial"/>
              </a:rPr>
              <a:t> or through Connect or LMS launch points. </a:t>
            </a:r>
            <a:endParaRPr lang="en-US" sz="1800"/>
          </a:p>
          <a:p>
            <a:pPr marL="572770" lvl="1" indent="-342900">
              <a:spcAft>
                <a:spcPts val="600"/>
              </a:spcAft>
              <a:buFont typeface="Arial"/>
              <a:buChar char="•"/>
            </a:pPr>
            <a:endParaRPr lang="en-US" sz="1300">
              <a:latin typeface="Arial"/>
              <a:cs typeface="Arial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EFDE8D9A-7100-30DC-B8F3-B4A80AF571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2D7CDFD-6A1E-3B56-2F7E-1CF15406DC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231487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C175817-792A-094E-A220-22C149BB8F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579" y="835665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: Study on your Smartphone or Tablet!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0C5671F-AF2D-46C1-984C-E962B4AE6DF3}"/>
              </a:ext>
            </a:extLst>
          </p:cNvPr>
          <p:cNvSpPr txBox="1">
            <a:spLocks noGrp="1"/>
          </p:cNvSpPr>
          <p:nvPr>
            <p:ph type="body" sz="quarter" idx="16"/>
          </p:nvPr>
        </p:nvSpPr>
        <p:spPr>
          <a:xfrm>
            <a:off x="487258" y="1362128"/>
            <a:ext cx="6570190" cy="2693045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r>
              <a:rPr lang="en-US" sz="1300" b="1" err="1">
                <a:latin typeface="Arial"/>
                <a:cs typeface="Arial"/>
              </a:rPr>
              <a:t>ReadAnywhere</a:t>
            </a:r>
            <a:r>
              <a:rPr lang="en-US" sz="1300" b="1" baseline="30000">
                <a:latin typeface="Arial"/>
                <a:cs typeface="Arial"/>
              </a:rPr>
              <a:t>®</a:t>
            </a:r>
            <a:r>
              <a:rPr lang="en-US" sz="1300" b="1">
                <a:latin typeface="Arial"/>
                <a:cs typeface="Arial"/>
              </a:rPr>
              <a:t> App</a:t>
            </a:r>
            <a:endParaRPr lang="en-US" sz="1300">
              <a:latin typeface="Arial"/>
              <a:cs typeface="Arial"/>
            </a:endParaRPr>
          </a:p>
          <a:p>
            <a:endParaRPr lang="en-US" sz="1300"/>
          </a:p>
          <a:p>
            <a:r>
              <a:rPr lang="en-US" sz="1300">
                <a:latin typeface="Arial"/>
                <a:cs typeface="Arial"/>
              </a:rPr>
              <a:t>Download the free </a:t>
            </a:r>
            <a:r>
              <a:rPr lang="en-US" sz="1300" err="1">
                <a:latin typeface="Arial"/>
                <a:cs typeface="Arial"/>
              </a:rPr>
              <a:t>ReadAnywhere</a:t>
            </a:r>
            <a:r>
              <a:rPr lang="en-US" sz="1300">
                <a:latin typeface="Arial"/>
                <a:cs typeface="Arial"/>
              </a:rPr>
              <a:t> app to your Android or iOS smartphone or tablet and access your course eBook for offline study access anytime, anywhere. </a:t>
            </a:r>
          </a:p>
          <a:p>
            <a:endParaRPr lang="en-US" sz="1300"/>
          </a:p>
          <a:p>
            <a:r>
              <a:rPr lang="en-US" sz="1300">
                <a:latin typeface="Arial"/>
                <a:cs typeface="Arial"/>
              </a:rPr>
              <a:t>More than </a:t>
            </a:r>
            <a:r>
              <a:rPr lang="en-US" sz="1300" u="sng">
                <a:latin typeface="Arial"/>
                <a:cs typeface="Arial"/>
              </a:rPr>
              <a:t>1 million students and instructors</a:t>
            </a:r>
            <a:r>
              <a:rPr lang="en-US" sz="1300">
                <a:latin typeface="Arial"/>
                <a:cs typeface="Arial"/>
              </a:rPr>
              <a:t> have downloaded the </a:t>
            </a:r>
            <a:r>
              <a:rPr lang="en-US" sz="1300" err="1">
                <a:latin typeface="Arial"/>
                <a:cs typeface="Arial"/>
              </a:rPr>
              <a:t>ReadAnywhere</a:t>
            </a:r>
            <a:r>
              <a:rPr lang="en-US" sz="1300">
                <a:latin typeface="Arial"/>
                <a:cs typeface="Arial"/>
              </a:rPr>
              <a:t> app, which has a 4.7 rating on the App Store.</a:t>
            </a:r>
          </a:p>
          <a:p>
            <a:endParaRPr lang="en-US" sz="1300"/>
          </a:p>
          <a:p>
            <a:r>
              <a:rPr lang="en-US" sz="1300" b="1">
                <a:latin typeface="Arial"/>
                <a:cs typeface="Arial"/>
              </a:rPr>
              <a:t>Connect Tablet App</a:t>
            </a:r>
            <a:endParaRPr lang="en-US" sz="1300">
              <a:latin typeface="Arial"/>
              <a:cs typeface="Arial"/>
            </a:endParaRPr>
          </a:p>
          <a:p>
            <a:endParaRPr lang="en-US" sz="1300"/>
          </a:p>
          <a:p>
            <a:r>
              <a:rPr lang="en-US" sz="1300">
                <a:latin typeface="Arial"/>
                <a:cs typeface="Arial"/>
              </a:rPr>
              <a:t>Log into Connect on your tablet browser and then add it to your home screen to complete assignments. </a:t>
            </a:r>
            <a:r>
              <a:rPr lang="en-US" sz="1300" i="1">
                <a:latin typeface="Arial"/>
                <a:cs typeface="Arial"/>
              </a:rPr>
              <a:t>The Connect Tablet App is not recommended for smartphone use.</a:t>
            </a:r>
            <a:endParaRPr lang="en-US" sz="1300">
              <a:latin typeface="Arial"/>
              <a:cs typeface="Arial"/>
            </a:endParaRP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E36E08D-B7A3-325F-533A-E8193A8CCC4F}"/>
              </a:ext>
            </a:extLst>
          </p:cNvPr>
          <p:cNvSpPr txBox="1">
            <a:spLocks/>
          </p:cNvSpPr>
          <p:nvPr/>
        </p:nvSpPr>
        <p:spPr>
          <a:xfrm>
            <a:off x="485444" y="4172456"/>
            <a:ext cx="6570190" cy="249299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00" b="1">
                <a:latin typeface="Arial"/>
                <a:cs typeface="Arial"/>
              </a:rPr>
              <a:t>Sharpen Exam Prep App</a:t>
            </a:r>
            <a:endParaRPr lang="en-US" sz="1300">
              <a:latin typeface="Arial"/>
              <a:cs typeface="Arial"/>
            </a:endParaRPr>
          </a:p>
          <a:p>
            <a:endParaRPr lang="en-US" sz="1300">
              <a:latin typeface="Arial"/>
              <a:cs typeface="Arial"/>
            </a:endParaRPr>
          </a:p>
          <a:p>
            <a:r>
              <a:rPr lang="en-US" sz="1300">
                <a:latin typeface="Arial"/>
                <a:cs typeface="Arial"/>
              </a:rPr>
              <a:t>Find the Sharpen launch point in Connect, GO, or your LMS. Click get started! </a:t>
            </a:r>
            <a:endParaRPr lang="en-US" sz="1300"/>
          </a:p>
          <a:p>
            <a:endParaRPr lang="en-US" sz="1300">
              <a:latin typeface="Arial"/>
              <a:cs typeface="Arial"/>
            </a:endParaRPr>
          </a:p>
          <a:p>
            <a:r>
              <a:rPr lang="en-US" sz="1300">
                <a:latin typeface="Arial"/>
                <a:cs typeface="Arial"/>
              </a:rPr>
              <a:t>Then download the Sharpen app to your </a:t>
            </a:r>
            <a:r>
              <a:rPr lang="en-US" sz="1300">
                <a:latin typeface="Arial"/>
                <a:cs typeface="Arial"/>
                <a:hlinkClick r:id="rId2"/>
              </a:rPr>
              <a:t>Android</a:t>
            </a:r>
            <a:r>
              <a:rPr lang="en-US" sz="1300">
                <a:latin typeface="Arial"/>
                <a:cs typeface="Arial"/>
              </a:rPr>
              <a:t> or </a:t>
            </a:r>
            <a:r>
              <a:rPr lang="en-US" sz="1300">
                <a:latin typeface="Arial"/>
                <a:cs typeface="Arial"/>
                <a:hlinkClick r:id="rId3"/>
              </a:rPr>
              <a:t>iOS</a:t>
            </a:r>
            <a:r>
              <a:rPr lang="en-US" sz="1300">
                <a:latin typeface="Arial"/>
                <a:cs typeface="Arial"/>
              </a:rPr>
              <a:t> smartphone to access your study content anytime, anywhere. </a:t>
            </a:r>
            <a:endParaRPr lang="en-US" sz="1300"/>
          </a:p>
          <a:p>
            <a:endParaRPr lang="en-US" sz="1300">
              <a:latin typeface="Arial"/>
              <a:cs typeface="Arial"/>
            </a:endParaRPr>
          </a:p>
          <a:p>
            <a:r>
              <a:rPr lang="en-US" sz="1300">
                <a:latin typeface="Arial"/>
                <a:cs typeface="Arial"/>
              </a:rPr>
              <a:t>On your tablet or laptop? Log into Sharpen web at </a:t>
            </a:r>
            <a:r>
              <a:rPr lang="en-US" sz="1300">
                <a:latin typeface="Arial"/>
                <a:cs typeface="Arial"/>
                <a:hlinkClick r:id="rId4"/>
              </a:rPr>
              <a:t>www.studysharpen.com</a:t>
            </a:r>
            <a:r>
              <a:rPr lang="en-US" sz="1300">
                <a:latin typeface="Arial"/>
                <a:cs typeface="Arial"/>
              </a:rPr>
              <a:t> to access your content. Always sign in with your school email address so your progress is up to date on any device.</a:t>
            </a:r>
            <a:endParaRPr lang="en-US" sz="1300">
              <a:solidFill>
                <a:srgbClr val="000000"/>
              </a:solidFill>
              <a:latin typeface="Arial"/>
              <a:cs typeface="Arial"/>
            </a:endParaRPr>
          </a:p>
          <a:p>
            <a:endParaRPr lang="en-US" sz="1300">
              <a:latin typeface="Arial"/>
              <a:cs typeface="Arial"/>
            </a:endParaRPr>
          </a:p>
          <a:p>
            <a:r>
              <a:rPr lang="en-US" sz="1300">
                <a:latin typeface="Arial"/>
                <a:cs typeface="Arial"/>
              </a:rPr>
              <a:t>Close to </a:t>
            </a:r>
            <a:r>
              <a:rPr lang="en-US" sz="1300" u="sng">
                <a:latin typeface="Arial"/>
                <a:cs typeface="Arial"/>
              </a:rPr>
              <a:t>1 million students</a:t>
            </a:r>
            <a:r>
              <a:rPr lang="en-US" sz="1300">
                <a:latin typeface="Arial"/>
                <a:cs typeface="Arial"/>
              </a:rPr>
              <a:t> have tried Sharpen, which has a 4.7 App Store rating.</a:t>
            </a:r>
            <a:endParaRPr lang="en-US" sz="1300"/>
          </a:p>
        </p:txBody>
      </p:sp>
      <p:pic>
        <p:nvPicPr>
          <p:cNvPr id="9" name="Picture 8" descr="Image of the ReadAnywhere App Logo.">
            <a:extLst>
              <a:ext uri="{FF2B5EF4-FFF2-40B4-BE49-F238E27FC236}">
                <a16:creationId xmlns:a16="http://schemas.microsoft.com/office/drawing/2014/main" id="{E9C0DE07-94EA-47D2-9677-F594AD58854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50331" y="1015067"/>
            <a:ext cx="2316113" cy="2412672"/>
          </a:xfrm>
          <a:prstGeom prst="rect">
            <a:avLst/>
          </a:prstGeom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0142E43-DE2B-6632-4863-878684C53A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5" name="Picture 4" descr="Image of the Sharpen logo.">
            <a:extLst>
              <a:ext uri="{FF2B5EF4-FFF2-40B4-BE49-F238E27FC236}">
                <a16:creationId xmlns:a16="http://schemas.microsoft.com/office/drawing/2014/main" id="{081C7F18-E127-826A-1D86-6108352F622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82769" y="3428697"/>
            <a:ext cx="2056966" cy="2112737"/>
          </a:xfrm>
          <a:prstGeom prst="roundRect">
            <a:avLst/>
          </a:prstGeom>
        </p:spPr>
      </p:pic>
      <p:pic>
        <p:nvPicPr>
          <p:cNvPr id="8" name="Picture 7" descr="Google Play Store icon.">
            <a:extLst>
              <a:ext uri="{FF2B5EF4-FFF2-40B4-BE49-F238E27FC236}">
                <a16:creationId xmlns:a16="http://schemas.microsoft.com/office/drawing/2014/main" id="{50E6952B-DBF3-0425-E3E1-B8EB79D1DF6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05546" y="5730707"/>
            <a:ext cx="1406463" cy="455418"/>
          </a:xfrm>
          <a:prstGeom prst="rect">
            <a:avLst/>
          </a:prstGeom>
        </p:spPr>
      </p:pic>
      <p:pic>
        <p:nvPicPr>
          <p:cNvPr id="10" name="Picture 9" descr="Apple App Store icon.">
            <a:extLst>
              <a:ext uri="{FF2B5EF4-FFF2-40B4-BE49-F238E27FC236}">
                <a16:creationId xmlns:a16="http://schemas.microsoft.com/office/drawing/2014/main" id="{6103DF3C-37C4-72FB-C49B-56BA553F545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318783" y="5732826"/>
            <a:ext cx="1319080" cy="460496"/>
          </a:xfrm>
          <a:prstGeom prst="rect">
            <a:avLst/>
          </a:prstGeom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51A92296-2EAE-60D8-EB39-80A7247D3D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5653" y="144202"/>
            <a:ext cx="1923691" cy="458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124724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B5F1E2-17B3-A013-C959-291EBE67D7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183292B-5D85-5CE6-D8BC-45D98E7161D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381500" y="1306513"/>
            <a:ext cx="7018338" cy="528320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nect Student Suppor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arn how to register, navigate Connect, use SmartBook</a:t>
            </a:r>
            <a:r>
              <a:rPr kumimoji="0" lang="en-US" sz="1400" b="1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®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 download the ReadAnywhere</a:t>
            </a:r>
            <a:r>
              <a:rPr kumimoji="0" lang="en-US" sz="1400" b="1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®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 app, and more!</a:t>
            </a: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heducation.com/</a:t>
            </a:r>
            <a:r>
              <a:rPr kumimoji="0" lang="en-US" sz="1800" b="1" i="0" u="none" strike="noStrike" kern="1200" cap="none" spc="0" normalizeH="0" baseline="0" noProof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ighered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support/student/connect.html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lus, access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echnical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upport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via chat </a:t>
            </a: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r phone at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800) 331-5094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ours of Operation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unday: 12 PM to 12 AM E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onday–Thursday: 24 hours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riday: 12 AM to 9 PM ET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aturday: 10 AM to 8 PM ET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FE766CE-7799-F25F-DBD6-7360E926E0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723" t="28837" r="58035" b="14977"/>
          <a:stretch/>
        </p:blipFill>
        <p:spPr>
          <a:xfrm>
            <a:off x="452062" y="2139190"/>
            <a:ext cx="3174714" cy="3317841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6" name="Picture 2">
            <a:extLst>
              <a:ext uri="{FF2B5EF4-FFF2-40B4-BE49-F238E27FC236}">
                <a16:creationId xmlns:a16="http://schemas.microsoft.com/office/drawing/2014/main" id="{FB1905E1-2753-B4E9-BE76-D17C5562F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5653" y="144202"/>
            <a:ext cx="1923691" cy="458154"/>
          </a:xfrm>
          <a:prstGeom prst="rect">
            <a:avLst/>
          </a:prstGeom>
        </p:spPr>
      </p:pic>
      <p:pic>
        <p:nvPicPr>
          <p:cNvPr id="2" name="Picture 6" descr="QR code to scan to access Connect student support.">
            <a:extLst>
              <a:ext uri="{FF2B5EF4-FFF2-40B4-BE49-F238E27FC236}">
                <a16:creationId xmlns:a16="http://schemas.microsoft.com/office/drawing/2014/main" id="{42D9CE48-3DF9-4968-D117-5A388ADAC95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97258" y="3508780"/>
            <a:ext cx="3033485" cy="3021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4325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2DB255-9C2D-9876-FAB5-D9C76B3FB2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6C88C49-657A-1CCB-0BF7-E47DECA70C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CF9ED036-95D3-DA95-26CA-D7F0ADA103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162CADB-7BAD-830D-1968-10342493CD43}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Getting Started with McGraw Hill Connect</a:t>
            </a:r>
            <a:r>
              <a:rPr lang="en-US" baseline="30000"/>
              <a:t> ®</a:t>
            </a:r>
            <a:r>
              <a:rPr lang="en-US"/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9CA9A14-B9A7-C9DB-0FEC-A717300A75A7}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D3854BF-806A-2A50-6E0D-2B5A784E1D5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ts val="246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harpen Companion Purchase Flow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A Registration: Connect without a Learning Management System (LMS)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highlight>
                <a:srgbClr val="FF00FF"/>
              </a:highlight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C20BB22-B333-DA57-3130-46F8317578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0222" t="15233" b="246"/>
          <a:stretch/>
        </p:blipFill>
        <p:spPr>
          <a:xfrm>
            <a:off x="3884263" y="3002037"/>
            <a:ext cx="4834427" cy="3846317"/>
          </a:xfrm>
          <a:prstGeom prst="rect">
            <a:avLst/>
          </a:prstGeom>
        </p:spPr>
      </p:pic>
      <p:pic>
        <p:nvPicPr>
          <p:cNvPr id="8" name="Picture 7" descr="Laptop showing the McGraw Hill Connect platform and a mobile phone showing the Sharpen study app.">
            <a:extLst>
              <a:ext uri="{FF2B5EF4-FFF2-40B4-BE49-F238E27FC236}">
                <a16:creationId xmlns:a16="http://schemas.microsoft.com/office/drawing/2014/main" id="{620BC993-BCE3-5BA0-7AD2-194D496CE4F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72455" y="4432478"/>
            <a:ext cx="2938738" cy="217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748395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6E518D-A955-10C3-C8DA-6A1320A91F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C23E88-CBD4-2FF1-4DBE-6EEBF8A85B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pPr algn="l"/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sz="800" baseline="30000">
                <a:latin typeface="Arial"/>
                <a:cs typeface="Arial"/>
              </a:rPr>
              <a:t>®</a:t>
            </a:r>
            <a:endParaRPr lang="en-US" sz="80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FBE8BCD8-80DC-A076-4DB0-29786F8973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653" y="144202"/>
            <a:ext cx="1923691" cy="458154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AA9CA110-16D9-4FE2-26DF-7DD8528B36A1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3743850" y="1112229"/>
            <a:ext cx="5796287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1: Register Directly in Connect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5BEDC15-A4B4-4CDE-406D-82F7BC413879}"/>
              </a:ext>
            </a:extLst>
          </p:cNvPr>
          <p:cNvSpPr txBox="1">
            <a:spLocks/>
          </p:cNvSpPr>
          <p:nvPr/>
        </p:nvSpPr>
        <p:spPr>
          <a:xfrm>
            <a:off x="7332877" y="2323155"/>
            <a:ext cx="4605031" cy="352447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Aft>
                <a:spcPts val="900"/>
              </a:spcAft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Enter your course URL provided by your instructor, something like</a:t>
            </a:r>
            <a:r>
              <a:rPr lang="en-US" sz="1800">
                <a:latin typeface="Arial"/>
                <a:cs typeface="Arial"/>
              </a:rPr>
              <a:t> </a:t>
            </a:r>
            <a:r>
              <a:rPr lang="en-US" sz="1800">
                <a:latin typeface="Arial"/>
                <a:ea typeface="Calibri"/>
                <a:cs typeface="Calibri"/>
                <a:hlinkClick r:id="rId4"/>
              </a:rPr>
              <a:t>connect.mheducation.com/class/abc1234</a:t>
            </a:r>
            <a:r>
              <a:rPr lang="en-US" sz="1800">
                <a:latin typeface="Arial"/>
                <a:ea typeface="Calibri"/>
                <a:cs typeface="Calibri"/>
              </a:rPr>
              <a:t> </a:t>
            </a:r>
            <a:endParaRPr lang="en-US" sz="1800">
              <a:latin typeface="Arial"/>
            </a:endParaRPr>
          </a:p>
          <a:p>
            <a:pPr marL="0" indent="0">
              <a:lnSpc>
                <a:spcPct val="120000"/>
              </a:lnSpc>
              <a:spcAft>
                <a:spcPts val="900"/>
              </a:spcAft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Enter your school email address and click 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Continue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.</a:t>
            </a:r>
          </a:p>
          <a:p>
            <a:pPr marL="0" indent="0">
              <a:lnSpc>
                <a:spcPct val="120000"/>
              </a:lnSpc>
              <a:spcAft>
                <a:spcPts val="900"/>
              </a:spcAft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If you receive the message "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You have a Connect Account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 but have forgotten your password," click 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Forgot Password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. </a:t>
            </a:r>
          </a:p>
        </p:txBody>
      </p:sp>
      <p:pic>
        <p:nvPicPr>
          <p:cNvPr id="5" name="Picture 4" descr="Screenshot of Connect log-in screen.">
            <a:extLst>
              <a:ext uri="{FF2B5EF4-FFF2-40B4-BE49-F238E27FC236}">
                <a16:creationId xmlns:a16="http://schemas.microsoft.com/office/drawing/2014/main" id="{A819D713-6148-550A-6745-0578A4D2F3F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7915" y="2463798"/>
            <a:ext cx="6388102" cy="2783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3791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B9BA3A-80CD-E562-8821-6A39B712C92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E3298E-7CC4-58C8-E496-7C2436279E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3A0DC7F4-D9D8-DB6D-4EDB-AC985F4114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2D3DE8A8-ED37-0DAF-BADA-3135A3B068CD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52425" y="1252734"/>
            <a:ext cx="4758929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2: 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D4672D3-0CB5-72A4-E39D-FED22057E4BD}"/>
              </a:ext>
            </a:extLst>
          </p:cNvPr>
          <p:cNvSpPr txBox="1">
            <a:spLocks/>
          </p:cNvSpPr>
          <p:nvPr/>
        </p:nvSpPr>
        <p:spPr>
          <a:xfrm>
            <a:off x="6755934" y="1876840"/>
            <a:ext cx="3625320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900"/>
              </a:spcAft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reate your account: </a:t>
            </a:r>
            <a:br>
              <a:rPr lang="en-US" sz="1800">
                <a:solidFill>
                  <a:srgbClr val="000000"/>
                </a:solidFill>
                <a:latin typeface="Arial"/>
                <a:cs typeface="Arial"/>
              </a:rPr>
            </a:b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Enter your school email, First and Last Name, create a password, and select a security question. </a:t>
            </a:r>
            <a:endParaRPr lang="en-US" sz="180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Always use your school email address when creating an account. </a:t>
            </a:r>
            <a:endParaRPr lang="en-US" sz="1800">
              <a:solidFill>
                <a:srgbClr val="000000"/>
              </a:solidFill>
            </a:endParaRPr>
          </a:p>
          <a:p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To receive text alerts, enter your mobile number.  Agree to the Terms and Conditions and then click 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Create Account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.</a:t>
            </a:r>
          </a:p>
        </p:txBody>
      </p:sp>
      <p:pic>
        <p:nvPicPr>
          <p:cNvPr id="2" name="Picture 1" descr="Screenshot of Connect registration screen.">
            <a:extLst>
              <a:ext uri="{FF2B5EF4-FFF2-40B4-BE49-F238E27FC236}">
                <a16:creationId xmlns:a16="http://schemas.microsoft.com/office/drawing/2014/main" id="{5F21F2D0-10C0-86B1-CC25-8F272F2D829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1056" y="852233"/>
            <a:ext cx="2030269" cy="5845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40000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2DDB75A-124F-0E1D-877D-B30BB08836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C12BB8E-6B0C-08D6-C800-4F20D1DFEBCF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7109496" y="1121920"/>
            <a:ext cx="2038509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3: 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6144573-42A1-52BE-66E0-F391EFEE58CC}"/>
              </a:ext>
            </a:extLst>
          </p:cNvPr>
          <p:cNvSpPr txBox="1">
            <a:spLocks/>
          </p:cNvSpPr>
          <p:nvPr/>
        </p:nvSpPr>
        <p:spPr>
          <a:xfrm>
            <a:off x="7106042" y="1718796"/>
            <a:ext cx="4752881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On the next page, click Complete Registration to access your learning content.</a:t>
            </a:r>
            <a:endParaRPr lang="en-US">
              <a:solidFill>
                <a:srgbClr val="000000"/>
              </a:solidFill>
            </a:endParaRPr>
          </a:p>
          <a:p>
            <a:pPr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ongratulations! You have successfully joined your course.</a:t>
            </a:r>
          </a:p>
          <a:p>
            <a:pPr marL="0" indent="0">
              <a:buNone/>
            </a:pPr>
            <a:endParaRPr lang="en-US" sz="1800" b="1" i="1">
              <a:solidFill>
                <a:srgbClr val="333333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</a:pPr>
            <a:endParaRPr lang="en-US" sz="1800">
              <a:latin typeface="Arial"/>
              <a:cs typeface="Arial"/>
            </a:endParaRPr>
          </a:p>
        </p:txBody>
      </p:sp>
      <p:pic>
        <p:nvPicPr>
          <p:cNvPr id="16" name="Picture 15" descr="Screenshot highlighting the Complete Registration button users must click on to join the course.">
            <a:extLst>
              <a:ext uri="{FF2B5EF4-FFF2-40B4-BE49-F238E27FC236}">
                <a16:creationId xmlns:a16="http://schemas.microsoft.com/office/drawing/2014/main" id="{B250D9FF-AA39-5D92-81BC-3E0E54FE33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1637" y="1851747"/>
            <a:ext cx="6742546" cy="2958234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7279FB-1920-5AC8-7713-9D420E6A47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94A5DAC9-7B9B-479A-F1ED-0C7663854A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49FF1321-DF8E-67FB-C30C-F48BEDFD68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78748" y="2879259"/>
            <a:ext cx="2256579" cy="732238"/>
          </a:xfrm>
          <a:prstGeom prst="round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06996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2A43DFC8-760D-FA5E-F9F9-479122304F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12812"/>
            <a:ext cx="12192000" cy="6845188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 descr="There is a 95% student satisfaction rate reported.&#10;&#10;&#10;&#10;&#10;">
            <a:extLst>
              <a:ext uri="{FF2B5EF4-FFF2-40B4-BE49-F238E27FC236}">
                <a16:creationId xmlns:a16="http://schemas.microsoft.com/office/drawing/2014/main" id="{1B13A01B-16DB-B0E2-5766-38690CAA92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88755" y="4434030"/>
            <a:ext cx="2227431" cy="2423969"/>
          </a:xfrm>
          <a:prstGeom prst="rect">
            <a:avLst/>
          </a:prstGeom>
        </p:spPr>
      </p:pic>
      <p:pic>
        <p:nvPicPr>
          <p:cNvPr id="13" name="Picture 12" descr="88% of students using Connect report that they find it easy to use.">
            <a:extLst>
              <a:ext uri="{FF2B5EF4-FFF2-40B4-BE49-F238E27FC236}">
                <a16:creationId xmlns:a16="http://schemas.microsoft.com/office/drawing/2014/main" id="{A585DD2F-02DA-8B7A-EADE-717BCC7FDF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39703" y="4434031"/>
            <a:ext cx="2734733" cy="2423968"/>
          </a:xfrm>
          <a:prstGeom prst="rect">
            <a:avLst/>
          </a:prstGeom>
        </p:spPr>
      </p:pic>
      <p:pic>
        <p:nvPicPr>
          <p:cNvPr id="11" name="Picture 10" descr="There is a 99% uptime and reliability reported among users.">
            <a:extLst>
              <a:ext uri="{FF2B5EF4-FFF2-40B4-BE49-F238E27FC236}">
                <a16:creationId xmlns:a16="http://schemas.microsoft.com/office/drawing/2014/main" id="{AA9CA2E7-A54B-32DB-2E9E-4D7112E4541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14046" y="4434031"/>
            <a:ext cx="2197732" cy="2423969"/>
          </a:xfrm>
          <a:prstGeom prst="rect">
            <a:avLst/>
          </a:prstGeom>
        </p:spPr>
      </p:pic>
      <p:pic>
        <p:nvPicPr>
          <p:cNvPr id="5" name="Picture 4" descr="A computer with a chat window&#10;&#10;AI-generated content may be incorrect.">
            <a:extLst>
              <a:ext uri="{FF2B5EF4-FFF2-40B4-BE49-F238E27FC236}">
                <a16:creationId xmlns:a16="http://schemas.microsoft.com/office/drawing/2014/main" id="{4EB64396-0494-E881-FF52-7D72ADF54C2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06133" y="1413000"/>
            <a:ext cx="5268209" cy="2782088"/>
          </a:xfrm>
          <a:prstGeom prst="rect">
            <a:avLst/>
          </a:prstGeom>
        </p:spPr>
      </p:pic>
      <p:sp>
        <p:nvSpPr>
          <p:cNvPr id="2" name="Content">
            <a:extLst>
              <a:ext uri="{FF2B5EF4-FFF2-40B4-BE49-F238E27FC236}">
                <a16:creationId xmlns:a16="http://schemas.microsoft.com/office/drawing/2014/main" id="{2DCC113D-1C05-E944-2ED5-9EAFBCBCFA3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0905" y="2423969"/>
            <a:ext cx="3759272" cy="2911396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  <a:latin typeface="Arial"/>
                <a:cs typeface="Arial"/>
              </a:rPr>
              <a:t>Personalized Learning 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Interactive, Course-Specific Tools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Built-in AI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Mobile eBook Access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Affordable Materials 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Quality Content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Support!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E75B486-3B8F-1D3E-7066-0C1216A32E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88755" y="434586"/>
            <a:ext cx="2341460" cy="550591"/>
          </a:xfrm>
          <a:prstGeom prst="rect">
            <a:avLst/>
          </a:prstGeom>
        </p:spPr>
      </p:pic>
      <p:sp>
        <p:nvSpPr>
          <p:cNvPr id="27" name="Title 26">
            <a:extLst>
              <a:ext uri="{FF2B5EF4-FFF2-40B4-BE49-F238E27FC236}">
                <a16:creationId xmlns:a16="http://schemas.microsoft.com/office/drawing/2014/main" id="{A59AA992-546C-FC9F-640A-FC9DC982918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63517" y="434586"/>
            <a:ext cx="8898789" cy="138499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nect is your personalized digital learning experience designed to help you optimize study time and ramp up your grade potential.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115812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C60438-69CE-BD29-4699-D760DC6610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C4E09A5-CEAC-83FF-84D5-C6F5A92A54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9B01D32-6625-8FC0-E755-F10872AE7A0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harpen Companion Log-In Flow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n-IA and IA Registration: Connect without a Learning Management System (LMS)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BE2F9FD5-C784-E47B-FE67-34F887C5AA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F3AB2894-FFA7-0503-6F36-777E9D9DF5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Getting Started with McGraw Hill Connect</a:t>
            </a:r>
            <a:r>
              <a:rPr lang="en-US" baseline="30000"/>
              <a:t> ®</a:t>
            </a:r>
            <a:r>
              <a:rPr lang="en-US"/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5435426-4615-9426-E71A-4981BBF366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9E0CDB4-6892-4FB2-CC36-4A586E02D0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0251"/>
          <a:stretch/>
        </p:blipFill>
        <p:spPr>
          <a:xfrm>
            <a:off x="3884263" y="2307272"/>
            <a:ext cx="4832074" cy="4550728"/>
          </a:xfrm>
          <a:prstGeom prst="rect">
            <a:avLst/>
          </a:prstGeom>
        </p:spPr>
      </p:pic>
      <p:pic>
        <p:nvPicPr>
          <p:cNvPr id="8" name="Picture 7" descr="Laptop showing the McGraw Hill Connect platform and a mobile phone showing the Sharpen study app.">
            <a:extLst>
              <a:ext uri="{FF2B5EF4-FFF2-40B4-BE49-F238E27FC236}">
                <a16:creationId xmlns:a16="http://schemas.microsoft.com/office/drawing/2014/main" id="{B06C7DD5-892C-9D9A-B2F7-3582BAB7A49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72455" y="4432478"/>
            <a:ext cx="2938738" cy="217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05067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199B91-B8EC-BCF1-C7A8-CDB4C9E67C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37C727-516E-EEC5-C5EA-F20AEEB58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456C361D-BCC4-0002-FCAD-4189AE89499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201A60F5-BF7E-3A90-69CF-D45B0233F013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970951" y="943790"/>
            <a:ext cx="5047748" cy="83099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Sharpen Companion Log-In Flow</a:t>
            </a:r>
            <a:b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</a:b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Par 1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DF8E5A8-41C9-A757-17E5-C66578B6CC10}"/>
              </a:ext>
            </a:extLst>
          </p:cNvPr>
          <p:cNvSpPr txBox="1">
            <a:spLocks/>
          </p:cNvSpPr>
          <p:nvPr/>
        </p:nvSpPr>
        <p:spPr>
          <a:xfrm>
            <a:off x="6970951" y="1774787"/>
            <a:ext cx="4752881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 dirty="0">
                <a:solidFill>
                  <a:srgbClr val="000000"/>
                </a:solidFill>
                <a:latin typeface="Arial"/>
                <a:cs typeface="Arial"/>
              </a:rPr>
              <a:t>Sharpen Assignment</a:t>
            </a:r>
            <a:r>
              <a:rPr lang="en-US" sz="1800" dirty="0">
                <a:solidFill>
                  <a:srgbClr val="000000"/>
                </a:solidFill>
                <a:latin typeface="Arial"/>
                <a:cs typeface="Arial"/>
              </a:rPr>
              <a:t>: Connect includes two Sharpen launch points. The first one is listed under Assignments. </a:t>
            </a:r>
            <a:endParaRPr lang="en-US" dirty="0">
              <a:solidFill>
                <a:srgbClr val="000000"/>
              </a:solidFill>
            </a:endParaRPr>
          </a:p>
          <a:p>
            <a:pPr marL="0" indent="0">
              <a:buNone/>
            </a:pPr>
            <a:r>
              <a:rPr lang="en-US" sz="1800" dirty="0">
                <a:solidFill>
                  <a:srgbClr val="000000"/>
                </a:solidFill>
                <a:latin typeface="Arial"/>
                <a:cs typeface="Arial"/>
              </a:rPr>
              <a:t>Click on the Sharpen assignment to open a new page with the Sharpen access point. Click </a:t>
            </a:r>
            <a:r>
              <a:rPr lang="en-US" sz="1800" b="1" dirty="0">
                <a:solidFill>
                  <a:srgbClr val="000000"/>
                </a:solidFill>
                <a:latin typeface="Arial"/>
                <a:cs typeface="Arial"/>
              </a:rPr>
              <a:t>Begin </a:t>
            </a:r>
            <a:r>
              <a:rPr lang="en-US" sz="1800" dirty="0">
                <a:solidFill>
                  <a:srgbClr val="000000"/>
                </a:solidFill>
                <a:latin typeface="Arial"/>
                <a:cs typeface="Arial"/>
              </a:rPr>
              <a:t>to launch Sharpen in a new web window.</a:t>
            </a:r>
            <a:endParaRPr lang="en-US" dirty="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sz="1800" dirty="0">
              <a:latin typeface="Arial"/>
              <a:cs typeface="Arial"/>
            </a:endParaRPr>
          </a:p>
          <a:p>
            <a:pPr marL="0" indent="0">
              <a:buNone/>
            </a:pPr>
            <a:endParaRPr lang="en-US" sz="1800" dirty="0">
              <a:latin typeface="Arial"/>
              <a:cs typeface="Arial"/>
            </a:endParaRPr>
          </a:p>
          <a:p>
            <a:pPr marL="0" indent="0">
              <a:buNone/>
            </a:pPr>
            <a:endParaRPr lang="en-US" sz="1800" dirty="0">
              <a:latin typeface="Arial"/>
              <a:cs typeface="Arial"/>
            </a:endParaRPr>
          </a:p>
          <a:p>
            <a:pPr marL="0" indent="0">
              <a:buNone/>
            </a:pPr>
            <a:endParaRPr lang="en-US" sz="1800" dirty="0">
              <a:latin typeface="Arial"/>
              <a:cs typeface="Arial"/>
            </a:endParaRPr>
          </a:p>
          <a:p>
            <a:pPr marL="0" indent="0">
              <a:buNone/>
            </a:pPr>
            <a:endParaRPr lang="en-US" sz="1800" dirty="0">
              <a:latin typeface="Arial"/>
              <a:cs typeface="Arial"/>
            </a:endParaRPr>
          </a:p>
        </p:txBody>
      </p:sp>
      <p:pic>
        <p:nvPicPr>
          <p:cNvPr id="7" name="Picture 6" descr="Screenshot of Sharpen access points on the Connect page. Yellow rectangle highlights the assignment.">
            <a:extLst>
              <a:ext uri="{FF2B5EF4-FFF2-40B4-BE49-F238E27FC236}">
                <a16:creationId xmlns:a16="http://schemas.microsoft.com/office/drawing/2014/main" id="{DC86DF4E-2F23-1542-04A5-97BE23CCED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4714" y="873992"/>
            <a:ext cx="5551714" cy="264258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88DDB6F-A896-1B16-A11C-D3D09322CE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95845" y="1932130"/>
            <a:ext cx="1082139" cy="265711"/>
          </a:xfrm>
          <a:prstGeom prst="rect">
            <a:avLst/>
          </a:prstGeom>
          <a:ln>
            <a:solidFill>
              <a:srgbClr val="FFFF00"/>
            </a:solidFill>
          </a:ln>
        </p:spPr>
      </p:pic>
      <p:pic>
        <p:nvPicPr>
          <p:cNvPr id="16" name="Picture 15" descr="Screenshot of Begin button to launch Sharpen. Yellow rectangle highlights the Begin button.">
            <a:extLst>
              <a:ext uri="{FF2B5EF4-FFF2-40B4-BE49-F238E27FC236}">
                <a16:creationId xmlns:a16="http://schemas.microsoft.com/office/drawing/2014/main" id="{214A9A1E-DA36-ADA1-5CF4-962CB61FD85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70808" y="3600533"/>
            <a:ext cx="3279340" cy="3009241"/>
          </a:xfrm>
          <a:prstGeom prst="rect">
            <a:avLst/>
          </a:prstGeom>
        </p:spPr>
      </p:pic>
      <p:pic>
        <p:nvPicPr>
          <p:cNvPr id="14" name="Picture 13" descr="Sharpen web app that opens after students open Sharpen from Connect.">
            <a:extLst>
              <a:ext uri="{FF2B5EF4-FFF2-40B4-BE49-F238E27FC236}">
                <a16:creationId xmlns:a16="http://schemas.microsoft.com/office/drawing/2014/main" id="{03D37F77-7E4E-85B8-4E14-9BDD3E6AF22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77643" y="4554250"/>
            <a:ext cx="5950857" cy="145064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766D91C-3507-6D0A-C7EB-60CF0F4FA2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54837" y="4549406"/>
            <a:ext cx="1460531" cy="429410"/>
          </a:xfrm>
          <a:prstGeom prst="rect">
            <a:avLst/>
          </a:prstGeom>
          <a:ln>
            <a:solidFill>
              <a:srgbClr val="FFFF00"/>
            </a:solidFill>
          </a:ln>
        </p:spPr>
      </p:pic>
    </p:spTree>
    <p:extLst>
      <p:ext uri="{BB962C8B-B14F-4D97-AF65-F5344CB8AC3E}">
        <p14:creationId xmlns:p14="http://schemas.microsoft.com/office/powerpoint/2010/main" val="340390125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609F08-50AC-8624-C5A6-AC46982EE8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A4C4B8-18F5-EE48-D08A-7F77C4228D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DE61D86-8E1B-A269-7864-09C7343966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BDA68AB6-AF16-8121-DCDF-8901D4053FC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970951" y="943790"/>
            <a:ext cx="5215982" cy="83099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Sharpen Companion Log-In Flow</a:t>
            </a:r>
            <a:b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</a:b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Part 2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07F44F05-0CD8-8DED-2D2D-8E09B5AE6625}"/>
              </a:ext>
            </a:extLst>
          </p:cNvPr>
          <p:cNvSpPr txBox="1">
            <a:spLocks/>
          </p:cNvSpPr>
          <p:nvPr/>
        </p:nvSpPr>
        <p:spPr>
          <a:xfrm>
            <a:off x="6970951" y="1774787"/>
            <a:ext cx="4752881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 dirty="0">
                <a:solidFill>
                  <a:srgbClr val="000000"/>
                </a:solidFill>
                <a:latin typeface="Arial"/>
                <a:cs typeface="Arial"/>
              </a:rPr>
              <a:t>Sharpen widget</a:t>
            </a:r>
            <a:r>
              <a:rPr lang="en-US" sz="1800" dirty="0">
                <a:solidFill>
                  <a:srgbClr val="000000"/>
                </a:solidFill>
                <a:latin typeface="Arial"/>
                <a:cs typeface="Arial"/>
              </a:rPr>
              <a:t>: The second launch point is on the bottom left-hand navigation section. </a:t>
            </a:r>
            <a:endParaRPr lang="en-US" dirty="0">
              <a:solidFill>
                <a:srgbClr val="000000"/>
              </a:solidFill>
            </a:endParaRPr>
          </a:p>
          <a:p>
            <a:pPr marL="0" indent="0">
              <a:buNone/>
            </a:pPr>
            <a:r>
              <a:rPr lang="en-US" sz="1800" dirty="0">
                <a:solidFill>
                  <a:srgbClr val="000000"/>
                </a:solidFill>
                <a:latin typeface="Arial"/>
                <a:cs typeface="Arial"/>
              </a:rPr>
              <a:t>Click on the Sharpen widget in the left-side navigation to launch the Sharpen app in a new window.</a:t>
            </a:r>
            <a:endParaRPr lang="en-US" dirty="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</a:pPr>
            <a:endParaRPr lang="en-US" sz="1800" dirty="0">
              <a:latin typeface="Arial"/>
              <a:cs typeface="Arial"/>
            </a:endParaRPr>
          </a:p>
        </p:txBody>
      </p:sp>
      <p:pic>
        <p:nvPicPr>
          <p:cNvPr id="7" name="Picture 6" descr="Screenshot of Sharpen launch points on the Connect page. Yellow rectangle highlights the launch point.">
            <a:extLst>
              <a:ext uri="{FF2B5EF4-FFF2-40B4-BE49-F238E27FC236}">
                <a16:creationId xmlns:a16="http://schemas.microsoft.com/office/drawing/2014/main" id="{ABD3A5AA-BFB0-178B-AE16-3E124715BEB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9357" y="1264064"/>
            <a:ext cx="5669643" cy="276958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A354B72-94AE-4128-5669-F566C13E95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8943" y="3130384"/>
            <a:ext cx="1299853" cy="503217"/>
          </a:xfrm>
          <a:prstGeom prst="rect">
            <a:avLst/>
          </a:prstGeom>
          <a:ln>
            <a:solidFill>
              <a:srgbClr val="FFFF00"/>
            </a:solidFill>
          </a:ln>
        </p:spPr>
      </p:pic>
      <p:pic>
        <p:nvPicPr>
          <p:cNvPr id="6" name="Picture 5" descr="Sharpen web app that opens after students open Sharpen from Connect.">
            <a:extLst>
              <a:ext uri="{FF2B5EF4-FFF2-40B4-BE49-F238E27FC236}">
                <a16:creationId xmlns:a16="http://schemas.microsoft.com/office/drawing/2014/main" id="{C77DB60D-A0BC-3093-67A0-4CD7CE5790D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68572" y="4654036"/>
            <a:ext cx="5950857" cy="1450642"/>
          </a:xfrm>
          <a:prstGeom prst="rect">
            <a:avLst/>
          </a:prstGeom>
        </p:spPr>
      </p:pic>
      <p:pic>
        <p:nvPicPr>
          <p:cNvPr id="9" name="Picture 8" descr="Screenshot of Sharpen launch point in Connect.">
            <a:extLst>
              <a:ext uri="{FF2B5EF4-FFF2-40B4-BE49-F238E27FC236}">
                <a16:creationId xmlns:a16="http://schemas.microsoft.com/office/drawing/2014/main" id="{E905A5CC-FCC5-B648-0E25-421D62E9C8A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2791" y="4831896"/>
            <a:ext cx="4422776" cy="1457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081434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BDBB3D-08E0-4F77-D05F-727E0D26A5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6EE572-9EC7-1B66-88F3-F2C925BC559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ank you!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9C3C409-5836-B155-D0DA-9EF618E5A3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>
                <a:latin typeface="Arial"/>
                <a:cs typeface="Arial"/>
              </a:rPr>
              <a:t>Getting Started with McGraw Hill Connect</a:t>
            </a:r>
            <a:r>
              <a:rPr lang="en-US" baseline="30000">
                <a:latin typeface="Arial"/>
                <a:cs typeface="Arial"/>
              </a:rPr>
              <a:t> ®</a:t>
            </a:r>
            <a:r>
              <a:rPr lang="en-US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  <a:latin typeface="Arial"/>
                <a:cs typeface="Arial"/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8E89D20-0534-3B8B-5C63-8AD4D1A290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7C413EC-DFE6-8E97-763B-6A458D13D6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242" t="15990" b="239"/>
          <a:stretch/>
        </p:blipFill>
        <p:spPr>
          <a:xfrm>
            <a:off x="3884263" y="2239979"/>
            <a:ext cx="5848785" cy="4620372"/>
          </a:xfrm>
          <a:prstGeom prst="rect">
            <a:avLst/>
          </a:prstGeom>
        </p:spPr>
      </p:pic>
      <p:pic>
        <p:nvPicPr>
          <p:cNvPr id="11" name="Picture 10" descr="Laptop showing the McGraw Hill Connect platform and a mobile phone showing the Sharpen study app.​">
            <a:extLst>
              <a:ext uri="{FF2B5EF4-FFF2-40B4-BE49-F238E27FC236}">
                <a16:creationId xmlns:a16="http://schemas.microsoft.com/office/drawing/2014/main" id="{6526AF70-00EB-6272-9C69-35FECD9C63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38272" y="4941165"/>
            <a:ext cx="2304184" cy="1663123"/>
          </a:xfrm>
          <a:prstGeom prst="rect">
            <a:avLst/>
          </a:prstGeom>
        </p:spPr>
      </p:pic>
      <p:pic>
        <p:nvPicPr>
          <p:cNvPr id="14" name="Picture 13" descr="Sharpen on a computer screen and a mobile phone.">
            <a:extLst>
              <a:ext uri="{FF2B5EF4-FFF2-40B4-BE49-F238E27FC236}">
                <a16:creationId xmlns:a16="http://schemas.microsoft.com/office/drawing/2014/main" id="{A296A8E8-78EB-8F12-DA69-3DB75E69C93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25131" y="3120364"/>
            <a:ext cx="2077732" cy="1625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2047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"/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457734" y="2318515"/>
            <a:ext cx="2731443" cy="2731443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254000" dist="38100" dir="2700000" algn="tl" rotWithShape="0">
              <a:prstClr val="black">
                <a:alpha val="4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CCESS!</a:t>
            </a:r>
          </a:p>
        </p:txBody>
      </p:sp>
      <p:sp>
        <p:nvSpPr>
          <p:cNvPr id="5" name="Diamond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380681" y="2352971"/>
            <a:ext cx="243749" cy="243749"/>
          </a:xfrm>
          <a:prstGeom prst="diamond">
            <a:avLst/>
          </a:prstGeom>
          <a:solidFill>
            <a:srgbClr val="CC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Diamond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593459" y="5641705"/>
            <a:ext cx="243749" cy="243749"/>
          </a:xfrm>
          <a:prstGeom prst="diamond">
            <a:avLst/>
          </a:prstGeom>
          <a:solidFill>
            <a:srgbClr val="E3BAFE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" name="Diamond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599540" y="4623555"/>
            <a:ext cx="243749" cy="243749"/>
          </a:xfrm>
          <a:prstGeom prst="diamond">
            <a:avLst/>
          </a:prstGeom>
          <a:solidFill>
            <a:srgbClr val="7030A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Diamond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774688" y="3444413"/>
            <a:ext cx="243749" cy="243749"/>
          </a:xfrm>
          <a:prstGeom prst="diamond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13" name="Straight Connector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4990291" y="3561134"/>
            <a:ext cx="141485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4902912" y="4752523"/>
            <a:ext cx="149415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3948047" y="5770672"/>
            <a:ext cx="138430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val 1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663964" y="3124116"/>
            <a:ext cx="926088" cy="926088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7" name="Oval 1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647004" y="4336522"/>
            <a:ext cx="926088" cy="926088"/>
          </a:xfrm>
          <a:prstGeom prst="ellipse">
            <a:avLst/>
          </a:prstGeom>
          <a:solidFill>
            <a:srgbClr val="7030A0"/>
          </a:solidFill>
          <a:ln>
            <a:noFill/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8" name="Oval 1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5649987" y="5387649"/>
            <a:ext cx="926088" cy="926088"/>
          </a:xfrm>
          <a:prstGeom prst="ellipse">
            <a:avLst/>
          </a:prstGeom>
          <a:solidFill>
            <a:srgbClr val="E3BAFE"/>
          </a:solidFill>
          <a:ln>
            <a:noFill/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22" name="Straight Connector 2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4721415" y="2462964"/>
            <a:ext cx="138430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2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247343" y="1972092"/>
            <a:ext cx="926088" cy="926088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2" name="Diamond 11">
            <a:extLst>
              <a:ext uri="{FF2B5EF4-FFF2-40B4-BE49-F238E27FC236}">
                <a16:creationId xmlns:a16="http://schemas.microsoft.com/office/drawing/2014/main" id="{A1F7072A-CFCF-833C-0C76-8305D4EA97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035795" y="1448962"/>
            <a:ext cx="243749" cy="243749"/>
          </a:xfrm>
          <a:prstGeom prst="diamond">
            <a:avLst/>
          </a:prstGeom>
          <a:solidFill>
            <a:srgbClr val="00206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06061442-C886-DFB1-AC08-A0DF6B95D9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955397" y="946388"/>
            <a:ext cx="926088" cy="926088"/>
          </a:xfrm>
          <a:prstGeom prst="ellipse">
            <a:avLst/>
          </a:prstGeom>
          <a:solidFill>
            <a:srgbClr val="002060"/>
          </a:solidFill>
          <a:ln>
            <a:noFill/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E1C89F4-1B61-7055-85B8-9DA1D5B8C6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3390383" y="1577929"/>
            <a:ext cx="138430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6C46B8-D4FE-0D7C-6202-530A521276C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46667" y="6129970"/>
            <a:ext cx="11669636" cy="603634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70000" lnSpcReduction="20000"/>
          </a:bodyPr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0">
              <a:spcAft>
                <a:spcPts val="600"/>
              </a:spcAft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None/>
            </a:pPr>
            <a:r>
              <a:rPr lang="en-US" sz="1400" b="0" dirty="0">
                <a:latin typeface="Arial"/>
                <a:cs typeface="Arial"/>
              </a:rPr>
              <a:t>*  </a:t>
            </a:r>
            <a:r>
              <a:rPr lang="en-US" sz="1400" b="0" i="1" dirty="0" err="1">
                <a:latin typeface="Arial"/>
                <a:cs typeface="Arial"/>
              </a:rPr>
              <a:t>ReadAnywhere</a:t>
            </a:r>
            <a:r>
              <a:rPr lang="en-US" sz="1400" b="0" i="1" dirty="0">
                <a:latin typeface="Arial"/>
                <a:cs typeface="Arial"/>
              </a:rPr>
              <a:t> supports newer eBooks and </a:t>
            </a:r>
            <a:r>
              <a:rPr lang="en-US" sz="1400" b="0" i="1" dirty="0" err="1">
                <a:latin typeface="Arial"/>
                <a:cs typeface="Arial"/>
              </a:rPr>
              <a:t>SmartBook</a:t>
            </a:r>
            <a:r>
              <a:rPr lang="en-US" sz="1400" b="0" i="1" dirty="0">
                <a:latin typeface="Arial"/>
                <a:cs typeface="Arial"/>
              </a:rPr>
              <a:t> - may not be available in your Connect course. Sharpen available in most courses.</a:t>
            </a:r>
            <a:endParaRPr lang="en-US" b="0" dirty="0">
              <a:latin typeface="Arial"/>
              <a:cs typeface="Arial"/>
            </a:endParaRPr>
          </a:p>
          <a:p>
            <a:endParaRPr lang="en-US" dirty="0"/>
          </a:p>
        </p:txBody>
      </p:sp>
      <p:grpSp>
        <p:nvGrpSpPr>
          <p:cNvPr id="79" name="Group 78" descr="Get support when needed. Connect support is available 24/7 via chat or phone. Please reach out to them with any issues. They are there to help!">
            <a:extLst>
              <a:ext uri="{FF2B5EF4-FFF2-40B4-BE49-F238E27FC236}">
                <a16:creationId xmlns:a16="http://schemas.microsoft.com/office/drawing/2014/main" id="{60F9DCB8-D144-8DCD-73CA-2DAD61EB5929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6662552" y="5513314"/>
            <a:ext cx="4618053" cy="773924"/>
            <a:chOff x="6712960" y="1530785"/>
            <a:chExt cx="2405788" cy="773924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7E96D5CC-7B0E-74D7-25A4-2F887F0BDF2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781489"/>
              <a:ext cx="240578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Calibri"/>
                  <a:cs typeface="Calibri"/>
                </a:rPr>
                <a:t>Connect support is available 24/7 via chat or phone. Please reach out to them with any issues. They are there to help!</a:t>
              </a:r>
              <a:endParaRPr lang="en-IN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B1E9868A-AD10-6242-D3FC-B97221004FE4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530785"/>
              <a:ext cx="24057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Get Support When Needed</a:t>
              </a:r>
            </a:p>
          </p:txBody>
        </p:sp>
      </p:grpSp>
      <p:pic>
        <p:nvPicPr>
          <p:cNvPr id="93" name="Graphic 92" descr="Lightbulb and gear outline">
            <a:extLst>
              <a:ext uri="{FF2B5EF4-FFF2-40B4-BE49-F238E27FC236}">
                <a16:creationId xmlns:a16="http://schemas.microsoft.com/office/drawing/2014/main" id="{F3D0A7AB-A13F-8A04-6C2D-858BF15858DD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761395" y="5473817"/>
            <a:ext cx="743764" cy="743764"/>
          </a:xfrm>
          <a:prstGeom prst="rect">
            <a:avLst/>
          </a:prstGeom>
        </p:spPr>
      </p:pic>
      <p:grpSp>
        <p:nvGrpSpPr>
          <p:cNvPr id="76" name="Group 75" descr="Use your resources. Prep like a pro with exam-like quizzes, flashcards, videos, and study tools aligned with your textbook.">
            <a:extLst>
              <a:ext uri="{FF2B5EF4-FFF2-40B4-BE49-F238E27FC236}">
                <a16:creationId xmlns:a16="http://schemas.microsoft.com/office/drawing/2014/main" id="{687B8526-DD28-8E16-6017-8FA65D22A318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7644583" y="4379592"/>
            <a:ext cx="3809806" cy="989368"/>
            <a:chOff x="6712960" y="1530785"/>
            <a:chExt cx="2405788" cy="989368"/>
          </a:xfrm>
        </p:grpSpPr>
        <p:sp>
          <p:nvSpPr>
            <p:cNvPr id="77" name="Rectangle 76" descr="Use your resources. Prep like a pro with exam-like quizzes, flashcards, videos, and study tools aligned with your textbook.">
              <a:extLst>
                <a:ext uri="{FF2B5EF4-FFF2-40B4-BE49-F238E27FC236}">
                  <a16:creationId xmlns:a16="http://schemas.microsoft.com/office/drawing/2014/main" id="{05C7FFA6-1DA2-B6B4-9AD8-3C8AC852CF15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781489"/>
              <a:ext cx="2405788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Calibri"/>
                  <a:cs typeface="Calibri"/>
                </a:rPr>
                <a:t>Prep like a pro with exam-like quizzes, flashcards, videos, and study tools aligned with your textbook.</a:t>
              </a:r>
              <a:endParaRPr lang="en-IN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92BC0027-A31C-0F53-9CD8-B4A579D412E7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530785"/>
              <a:ext cx="24057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Use Your Resources</a:t>
              </a:r>
            </a:p>
          </p:txBody>
        </p:sp>
      </p:grpSp>
      <p:pic>
        <p:nvPicPr>
          <p:cNvPr id="91" name="Graphic 90" descr="Connections outline">
            <a:extLst>
              <a:ext uri="{FF2B5EF4-FFF2-40B4-BE49-F238E27FC236}">
                <a16:creationId xmlns:a16="http://schemas.microsoft.com/office/drawing/2014/main" id="{EDB9C382-3EB5-128A-D3CC-DC717CB757D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6820544" y="4502111"/>
            <a:ext cx="594910" cy="594910"/>
          </a:xfrm>
          <a:prstGeom prst="rect">
            <a:avLst/>
          </a:prstGeom>
        </p:spPr>
      </p:pic>
      <p:grpSp>
        <p:nvGrpSpPr>
          <p:cNvPr id="73" name="Group 72" descr="Know what to study. Recharge in SmartBook provides you with personalized studying of concepts you’ve learned. Built with the power of learning science, you’ll know just what to study!">
            <a:extLst>
              <a:ext uri="{FF2B5EF4-FFF2-40B4-BE49-F238E27FC236}">
                <a16:creationId xmlns:a16="http://schemas.microsoft.com/office/drawing/2014/main" id="{9F2F35AE-15BE-5686-2687-37F31526F887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7661721" y="3048290"/>
            <a:ext cx="4378036" cy="1204811"/>
            <a:chOff x="6712960" y="1530785"/>
            <a:chExt cx="2405788" cy="1204811"/>
          </a:xfrm>
        </p:grpSpPr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E755CA58-09D0-6D28-5F50-71D1A433A89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781489"/>
              <a:ext cx="2405788" cy="9541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Calibri"/>
                  <a:cs typeface="Calibri"/>
                </a:rPr>
                <a:t>Recharge in </a:t>
              </a:r>
              <a:r>
                <a:rPr lang="en-US" sz="1400" dirty="0" err="1">
                  <a:latin typeface="Calibri"/>
                  <a:cs typeface="Calibri"/>
                </a:rPr>
                <a:t>SmartBook</a:t>
              </a:r>
              <a:r>
                <a:rPr lang="en-US" sz="1400" dirty="0">
                  <a:latin typeface="Calibri"/>
                  <a:cs typeface="Calibri"/>
                </a:rPr>
                <a:t> provides you with personalized studying of concepts you’ve learned. Built with the power of learning science, you’ll know just what to study!</a:t>
              </a:r>
              <a:endParaRPr lang="en-IN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1E45B606-2B6C-7FAC-8328-9A5B7B3BB8E3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530785"/>
              <a:ext cx="24057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Know What to Study</a:t>
              </a:r>
            </a:p>
          </p:txBody>
        </p:sp>
      </p:grpSp>
      <p:pic>
        <p:nvPicPr>
          <p:cNvPr id="83" name="Graphic 82" descr="Chat bubble outline">
            <a:extLst>
              <a:ext uri="{FF2B5EF4-FFF2-40B4-BE49-F238E27FC236}">
                <a16:creationId xmlns:a16="http://schemas.microsoft.com/office/drawing/2014/main" id="{3EC52EBC-83C9-D758-D8EE-B47ED5A348A2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735633" y="3187590"/>
            <a:ext cx="823222" cy="823222"/>
          </a:xfrm>
          <a:prstGeom prst="rect">
            <a:avLst/>
          </a:prstGeom>
        </p:spPr>
      </p:pic>
      <p:grpSp>
        <p:nvGrpSpPr>
          <p:cNvPr id="21" name="Group 20" descr="Focus. View the Reports in Connect to understand key concepts from the content.">
            <a:extLst>
              <a:ext uri="{FF2B5EF4-FFF2-40B4-BE49-F238E27FC236}">
                <a16:creationId xmlns:a16="http://schemas.microsoft.com/office/drawing/2014/main" id="{C57DD816-45BD-248D-0E3C-C675FE6A5F80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7407768" y="1988182"/>
            <a:ext cx="3809806" cy="773924"/>
            <a:chOff x="6712960" y="1530785"/>
            <a:chExt cx="2405788" cy="77392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FFB3366-15D0-6D31-51F7-89C54E46048E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781489"/>
              <a:ext cx="240578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Calibri"/>
                  <a:cs typeface="Calibri"/>
                </a:rPr>
                <a:t>View the Reports in Connect to understand key concepts from the content.</a:t>
              </a:r>
              <a:endParaRPr lang="en-IN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DC8AC9A0-5315-5051-B9C0-4C65E9CEA8ED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530785"/>
              <a:ext cx="24057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Focus!</a:t>
              </a:r>
            </a:p>
          </p:txBody>
        </p:sp>
      </p:grpSp>
      <p:pic>
        <p:nvPicPr>
          <p:cNvPr id="89" name="Graphic 88" descr="Ui Ux outline">
            <a:extLst>
              <a:ext uri="{FF2B5EF4-FFF2-40B4-BE49-F238E27FC236}">
                <a16:creationId xmlns:a16="http://schemas.microsoft.com/office/drawing/2014/main" id="{0080D1CD-4548-941A-1441-8EA4FDB99A6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384281" y="2085798"/>
            <a:ext cx="646197" cy="646197"/>
          </a:xfrm>
          <a:prstGeom prst="rect">
            <a:avLst/>
          </a:prstGeom>
        </p:spPr>
      </p:pic>
      <p:grpSp>
        <p:nvGrpSpPr>
          <p:cNvPr id="34" name="Group 33" descr="Learn On-the-Go. Download the free ReadAnywhere app to take your eBook and SmartBook with you—online and offline."/>
          <p:cNvGrpSpPr>
            <a:grpSpLocks noGrp="1" noUngrp="1" noRot="1" noMove="1" noResize="1"/>
          </p:cNvGrpSpPr>
          <p:nvPr/>
        </p:nvGrpSpPr>
        <p:grpSpPr>
          <a:xfrm>
            <a:off x="5979102" y="904473"/>
            <a:ext cx="5958898" cy="815133"/>
            <a:chOff x="6712960" y="1530785"/>
            <a:chExt cx="2405788" cy="815133"/>
          </a:xfrm>
        </p:grpSpPr>
        <p:sp>
          <p:nvSpPr>
            <p:cNvPr id="32" name="Rectangle 31"/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822698"/>
              <a:ext cx="240578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Calibri"/>
                  <a:cs typeface="Calibri"/>
                </a:rPr>
                <a:t>Download the free </a:t>
              </a:r>
              <a:r>
                <a:rPr lang="en-US" sz="1400" dirty="0" err="1">
                  <a:latin typeface="Calibri"/>
                  <a:cs typeface="Calibri"/>
                </a:rPr>
                <a:t>ReadAnywhere</a:t>
              </a:r>
              <a:r>
                <a:rPr lang="en-US" sz="1400" dirty="0">
                  <a:latin typeface="Calibri"/>
                  <a:cs typeface="Calibri"/>
                </a:rPr>
                <a:t> app to take your eBook and </a:t>
              </a:r>
              <a:r>
                <a:rPr lang="en-US" sz="1400" dirty="0" err="1">
                  <a:latin typeface="Calibri"/>
                  <a:cs typeface="Calibri"/>
                </a:rPr>
                <a:t>SmartBook</a:t>
              </a:r>
              <a:r>
                <a:rPr lang="en-US" sz="1400" dirty="0">
                  <a:latin typeface="Calibri"/>
                  <a:cs typeface="Calibri"/>
                </a:rPr>
                <a:t> with you—online</a:t>
              </a:r>
              <a:r>
                <a:rPr lang="en-US" sz="1400" i="1" dirty="0">
                  <a:latin typeface="Calibri"/>
                  <a:cs typeface="Calibri"/>
                </a:rPr>
                <a:t> and </a:t>
              </a:r>
              <a:r>
                <a:rPr lang="en-US" sz="1400" dirty="0">
                  <a:latin typeface="Calibri"/>
                  <a:cs typeface="Calibri"/>
                </a:rPr>
                <a:t>offline.</a:t>
              </a:r>
              <a:endParaRPr lang="en-IN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" name="TextBox 32"/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530785"/>
              <a:ext cx="24057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Learn On-the-Go</a:t>
              </a:r>
            </a:p>
          </p:txBody>
        </p:sp>
      </p:grpSp>
      <p:pic>
        <p:nvPicPr>
          <p:cNvPr id="87" name="Graphic 86" descr="Smiling face outline outline">
            <a:extLst>
              <a:ext uri="{FF2B5EF4-FFF2-40B4-BE49-F238E27FC236}">
                <a16:creationId xmlns:a16="http://schemas.microsoft.com/office/drawing/2014/main" id="{75B10BC4-02A1-3C20-4F37-4D8CED478A93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053679" y="1027309"/>
            <a:ext cx="732442" cy="732442"/>
          </a:xfrm>
          <a:prstGeom prst="rect">
            <a:avLst/>
          </a:prstGeom>
        </p:spPr>
      </p:pic>
      <p:sp>
        <p:nvSpPr>
          <p:cNvPr id="4" name="Arc 3" descr="Make the most of connect to gain success!"/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567259" y="1612212"/>
            <a:ext cx="4378036" cy="4378034"/>
          </a:xfrm>
          <a:prstGeom prst="arc">
            <a:avLst>
              <a:gd name="adj1" fmla="val 16200000"/>
              <a:gd name="adj2" fmla="val 5361653"/>
            </a:avLst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9" name="Picture 8" descr="McGraw Hill Connect Logo">
            <a:extLst>
              <a:ext uri="{FF2B5EF4-FFF2-40B4-BE49-F238E27FC236}">
                <a16:creationId xmlns:a16="http://schemas.microsoft.com/office/drawing/2014/main" id="{DE7325CA-533B-03D5-50AF-AC408B2AF38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523633" y="256749"/>
            <a:ext cx="2341460" cy="550591"/>
          </a:xfrm>
          <a:prstGeom prst="rect">
            <a:avLst/>
          </a:prstGeom>
        </p:spPr>
      </p:pic>
      <p:sp>
        <p:nvSpPr>
          <p:cNvPr id="2" name="Title 1"/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672494" y="-147031"/>
            <a:ext cx="10515600" cy="1325563"/>
          </a:xfrm>
        </p:spPr>
        <p:txBody>
          <a:bodyPr>
            <a:normAutofit/>
          </a:bodyPr>
          <a:lstStyle/>
          <a:p>
            <a:r>
              <a:rPr lang="en-IN" sz="3600" b="1" dirty="0">
                <a:solidFill>
                  <a:srgbClr val="002060"/>
                </a:solidFill>
              </a:rPr>
              <a:t>Make the Most of Connect!</a:t>
            </a:r>
          </a:p>
        </p:txBody>
      </p:sp>
    </p:spTree>
    <p:extLst>
      <p:ext uri="{BB962C8B-B14F-4D97-AF65-F5344CB8AC3E}">
        <p14:creationId xmlns:p14="http://schemas.microsoft.com/office/powerpoint/2010/main" val="3207652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B689AD-3D61-36EA-2948-6B112DE424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1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84D9E0-C4F1-9D66-8F9F-2C7B5B1221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9020"/>
            <a:ext cx="4454104" cy="331932"/>
          </a:xfrm>
        </p:spPr>
        <p:txBody>
          <a:bodyPr/>
          <a:lstStyle/>
          <a:p>
            <a:r>
              <a:rPr lang="en-US" dirty="0"/>
              <a:t>Connect Standalone with Inclusive Access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A23E18C-FB46-253B-71CC-3BFDD9751CE7}"/>
              </a:ext>
            </a:extLst>
          </p:cNvPr>
          <p:cNvSpPr txBox="1">
            <a:spLocks/>
          </p:cNvSpPr>
          <p:nvPr/>
        </p:nvSpPr>
        <p:spPr>
          <a:xfrm>
            <a:off x="660930" y="1728259"/>
            <a:ext cx="3498320" cy="438202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343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>
                <a:latin typeface="Arial"/>
                <a:cs typeface="Arial"/>
              </a:rPr>
              <a:t>Enter your course URL provided by your instructor. </a:t>
            </a:r>
            <a:endParaRPr lang="en-US"/>
          </a:p>
          <a:p>
            <a:pPr>
              <a:defRPr/>
            </a:pPr>
            <a:endParaRPr lang="en-US"/>
          </a:p>
          <a:p>
            <a:pPr>
              <a:defRPr/>
            </a:pPr>
            <a:r>
              <a:rPr lang="en-US">
                <a:latin typeface="Arial"/>
                <a:cs typeface="Arial"/>
              </a:rPr>
              <a:t>Enter your email address and click </a:t>
            </a:r>
            <a:r>
              <a:rPr lang="en-US" b="1">
                <a:latin typeface="Arial"/>
                <a:cs typeface="Arial"/>
              </a:rPr>
              <a:t>Begin</a:t>
            </a:r>
            <a:r>
              <a:rPr lang="en-US">
                <a:latin typeface="Arial"/>
                <a:cs typeface="Arial"/>
              </a:rPr>
              <a:t>.</a:t>
            </a:r>
          </a:p>
          <a:p>
            <a:pPr>
              <a:defRPr/>
            </a:pPr>
            <a:endParaRPr lang="en-US"/>
          </a:p>
          <a:p>
            <a:r>
              <a:rPr lang="en-US">
                <a:latin typeface="Arial"/>
                <a:cs typeface="Arial"/>
              </a:rPr>
              <a:t>If you receive the message, </a:t>
            </a:r>
            <a:r>
              <a:rPr lang="en-US" b="1">
                <a:latin typeface="Arial"/>
                <a:cs typeface="Arial"/>
              </a:rPr>
              <a:t>You have a Connect Account </a:t>
            </a:r>
            <a:r>
              <a:rPr lang="en-US">
                <a:latin typeface="Arial"/>
                <a:cs typeface="Arial"/>
              </a:rPr>
              <a:t> but have forgotten your password, click </a:t>
            </a:r>
            <a:r>
              <a:rPr lang="en-US" b="1">
                <a:latin typeface="Arial"/>
                <a:cs typeface="Arial"/>
              </a:rPr>
              <a:t>Forgot Password</a:t>
            </a:r>
            <a:r>
              <a:rPr lang="en-US">
                <a:latin typeface="Arial"/>
                <a:cs typeface="Arial"/>
              </a:rPr>
              <a:t>. </a:t>
            </a:r>
            <a:endParaRPr lang="en-US" dirty="0">
              <a:latin typeface="Arial"/>
              <a:cs typeface="Arial"/>
            </a:endParaRPr>
          </a:p>
        </p:txBody>
      </p:sp>
      <p:pic>
        <p:nvPicPr>
          <p:cNvPr id="7" name="Picture 6" descr="Screenshot of the Welcome page of your instructors connect Course">
            <a:extLst>
              <a:ext uri="{FF2B5EF4-FFF2-40B4-BE49-F238E27FC236}">
                <a16:creationId xmlns:a16="http://schemas.microsoft.com/office/drawing/2014/main" id="{794F0676-DF2F-02A1-5B53-121B9F2D7F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66658" y="1396471"/>
            <a:ext cx="7177617" cy="3159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87859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C81779-ED6B-C1F6-67BC-417EE87BE8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EF012F-23DA-E89E-87E8-98AB82EE80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2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44FC930-A7C5-0A96-EBF0-F5DAB7EDA0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Connect Standalone with Inclusive Access</a:t>
            </a:r>
          </a:p>
          <a:p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872EEDC0-A899-14A9-02D6-08B02325728F}"/>
              </a:ext>
            </a:extLst>
          </p:cNvPr>
          <p:cNvSpPr txBox="1">
            <a:spLocks/>
          </p:cNvSpPr>
          <p:nvPr/>
        </p:nvSpPr>
        <p:spPr>
          <a:xfrm>
            <a:off x="559329" y="1719793"/>
            <a:ext cx="3168121" cy="439049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343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900"/>
              </a:spcAft>
            </a:pPr>
            <a:r>
              <a:rPr lang="en-US">
                <a:latin typeface="Arial"/>
                <a:cs typeface="Arial"/>
              </a:rPr>
              <a:t>Create your account:  Enter email, First and Last Name, create a password and select a security questions. </a:t>
            </a:r>
            <a:endParaRPr lang="en-US"/>
          </a:p>
          <a:p>
            <a:pPr>
              <a:spcAft>
                <a:spcPts val="900"/>
              </a:spcAft>
            </a:pPr>
            <a:r>
              <a:rPr lang="en-US">
                <a:latin typeface="Arial"/>
                <a:cs typeface="Arial"/>
              </a:rPr>
              <a:t>We recommend using your school email address when creating an account. </a:t>
            </a:r>
            <a:endParaRPr lang="en-US"/>
          </a:p>
          <a:p>
            <a:r>
              <a:rPr lang="en-US">
                <a:latin typeface="Arial"/>
                <a:cs typeface="Arial"/>
              </a:rPr>
              <a:t>To receive text alerts, enter your mobile number.  Agree to the Terms and Conditions and then click </a:t>
            </a:r>
            <a:r>
              <a:rPr lang="en-US" b="1">
                <a:latin typeface="Arial"/>
                <a:cs typeface="Arial"/>
              </a:rPr>
              <a:t>Create Account</a:t>
            </a:r>
            <a:r>
              <a:rPr lang="en-US">
                <a:latin typeface="Arial"/>
                <a:cs typeface="Arial"/>
              </a:rPr>
              <a:t>.</a:t>
            </a:r>
            <a:endParaRPr lang="en-US" dirty="0">
              <a:latin typeface="Arial"/>
              <a:cs typeface="Arial"/>
            </a:endParaRPr>
          </a:p>
        </p:txBody>
      </p:sp>
      <p:pic>
        <p:nvPicPr>
          <p:cNvPr id="6" name="Picture 5" descr="Screenshot from the Create a Connect Account page">
            <a:extLst>
              <a:ext uri="{FF2B5EF4-FFF2-40B4-BE49-F238E27FC236}">
                <a16:creationId xmlns:a16="http://schemas.microsoft.com/office/drawing/2014/main" id="{FC00034A-4B45-D7DB-BDDE-A60FD62C94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27450" y="1394355"/>
            <a:ext cx="3822700" cy="3764492"/>
          </a:xfrm>
          <a:prstGeom prst="rect">
            <a:avLst/>
          </a:prstGeom>
        </p:spPr>
      </p:pic>
      <p:pic>
        <p:nvPicPr>
          <p:cNvPr id="7" name="Picture 6" descr="Screenshot of the bottom half of the Create a Connect Account page">
            <a:extLst>
              <a:ext uri="{FF2B5EF4-FFF2-40B4-BE49-F238E27FC236}">
                <a16:creationId xmlns:a16="http://schemas.microsoft.com/office/drawing/2014/main" id="{3BAAFAAA-B2F0-D677-6B5F-B5BEA82C39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09740" y="1773030"/>
            <a:ext cx="3724275" cy="4343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065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66140C-3D9B-35D8-5A39-128A961194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83A130-29C2-E441-1428-7557D25C17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3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4AA4E02-6AE3-16DC-A0A0-04F56927A6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Connect Standalone with Inclusive Access</a:t>
            </a:r>
          </a:p>
          <a:p>
            <a:endParaRPr lang="en-US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DE63374B-394F-14D1-7280-5924EF79B908}"/>
              </a:ext>
            </a:extLst>
          </p:cNvPr>
          <p:cNvSpPr txBox="1">
            <a:spLocks/>
          </p:cNvSpPr>
          <p:nvPr/>
        </p:nvSpPr>
        <p:spPr>
          <a:xfrm>
            <a:off x="660930" y="1728259"/>
            <a:ext cx="3218920" cy="303582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343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latin typeface="Arial"/>
                <a:cs typeface="Arial"/>
              </a:rPr>
              <a:t>You are almost done. Review the information on this screen. If it is correct, click </a:t>
            </a:r>
            <a:r>
              <a:rPr lang="en-US" b="1">
                <a:latin typeface="Arial"/>
                <a:cs typeface="Arial"/>
              </a:rPr>
              <a:t>Complete Registration</a:t>
            </a:r>
            <a:r>
              <a:rPr lang="en-US">
                <a:latin typeface="Arial"/>
                <a:cs typeface="Arial"/>
              </a:rPr>
              <a:t>.  You are now registered. </a:t>
            </a:r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 dirty="0"/>
          </a:p>
        </p:txBody>
      </p:sp>
      <p:pic>
        <p:nvPicPr>
          <p:cNvPr id="9" name="Picture 8" descr="Screenshot of the step where you verify registration access period and complete registration ">
            <a:extLst>
              <a:ext uri="{FF2B5EF4-FFF2-40B4-BE49-F238E27FC236}">
                <a16:creationId xmlns:a16="http://schemas.microsoft.com/office/drawing/2014/main" id="{7B906D16-5D1D-B65C-C77C-2CC5682142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84675" y="1717675"/>
            <a:ext cx="5344583" cy="4116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2558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C5483EE-6588-8FB8-5E2B-7BC513C15E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004" y="1042819"/>
            <a:ext cx="7425786" cy="690503"/>
          </a:xfrm>
        </p:spPr>
        <p:txBody>
          <a:bodyPr>
            <a:normAutofit fontScale="90000"/>
          </a:bodyPr>
          <a:lstStyle/>
          <a:p>
            <a:r>
              <a:rPr lang="en-US" sz="2200">
                <a:latin typeface="Arial"/>
                <a:cs typeface="Arial"/>
              </a:rPr>
              <a:t>Slides Available for the First Day of Class: Sharpen Companion, IA, Standalone</a:t>
            </a:r>
            <a:endParaRPr lang="en-US" sz="220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54EA526-D390-E19A-BD6B-0CD609A59E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McGraw Hill First Day of Class 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BDD4F1-225D-2004-AEB8-C78EE5CDD1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McGraw Hill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67892B8-AB1F-0462-871B-2BFA44332D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86966" y="1951406"/>
            <a:ext cx="8574933" cy="3746527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buFont typeface="Wingdings,Sans-Serif" panose="020B0604020202020204" pitchFamily="34" charset="0"/>
              <a:buChar char="q"/>
            </a:pPr>
            <a:r>
              <a:rPr lang="en-US" sz="1400" b="1" dirty="0">
                <a:latin typeface="Arial"/>
                <a:cs typeface="Arial"/>
              </a:rPr>
              <a:t>McGraw Hill Connect and Sharpen</a:t>
            </a:r>
            <a:r>
              <a:rPr lang="en-US" sz="1400" dirty="0">
                <a:latin typeface="Arial"/>
                <a:cs typeface="Arial"/>
              </a:rPr>
              <a:t>:</a:t>
            </a:r>
            <a:endParaRPr lang="en-US" sz="1400" strike="sngStrike" dirty="0">
              <a:highlight>
                <a:srgbClr val="FFFF00"/>
              </a:highlight>
              <a:latin typeface="Arial"/>
              <a:cs typeface="Arial"/>
            </a:endParaRPr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 dirty="0">
                <a:latin typeface="Arial"/>
                <a:cs typeface="Arial"/>
              </a:rPr>
              <a:t>Connect and Sharpen Companion FDOC Slides 10 – 17</a:t>
            </a:r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 dirty="0">
                <a:latin typeface="Arial"/>
                <a:cs typeface="Arial"/>
              </a:rPr>
              <a:t>Connect Purchase Flows</a:t>
            </a:r>
            <a:endParaRPr lang="en-US" sz="1400" dirty="0"/>
          </a:p>
          <a:p>
            <a:pPr lvl="2">
              <a:spcBef>
                <a:spcPts val="500"/>
              </a:spcBef>
              <a:buFont typeface="Wingdings" panose="020B0604020202020204" pitchFamily="34" charset="0"/>
              <a:buChar char="§"/>
            </a:pPr>
            <a:r>
              <a:rPr lang="en-US" dirty="0">
                <a:latin typeface="Arial"/>
                <a:cs typeface="Arial"/>
              </a:rPr>
              <a:t>IA: Connect without an LMS Slides 18 – 21</a:t>
            </a:r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 dirty="0">
                <a:latin typeface="Arial"/>
                <a:cs typeface="Arial"/>
              </a:rPr>
              <a:t>Connect Log-In Flows</a:t>
            </a:r>
          </a:p>
          <a:p>
            <a:pPr lvl="2">
              <a:spcBef>
                <a:spcPts val="500"/>
              </a:spcBef>
              <a:buFont typeface="Wingdings" panose="020B0604020202020204" pitchFamily="34" charset="0"/>
              <a:buChar char="§"/>
            </a:pPr>
            <a:r>
              <a:rPr lang="en-US" dirty="0">
                <a:latin typeface="Arial"/>
                <a:cs typeface="Arial"/>
              </a:rPr>
              <a:t>Non-IA and IA: Connect without LMS Slides 22 – 25 </a:t>
            </a:r>
          </a:p>
        </p:txBody>
      </p:sp>
    </p:spTree>
    <p:extLst>
      <p:ext uri="{BB962C8B-B14F-4D97-AF65-F5344CB8AC3E}">
        <p14:creationId xmlns:p14="http://schemas.microsoft.com/office/powerpoint/2010/main" val="29798977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A813C9-3AD3-29F5-48C7-E65638387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9080" y="1718704"/>
            <a:ext cx="4831300" cy="1420574"/>
          </a:xfrm>
        </p:spPr>
        <p:txBody>
          <a:bodyPr/>
          <a:lstStyle/>
          <a:p>
            <a:r>
              <a:rPr lang="en-US"/>
              <a:t>Getting Started with McGraw Hill Connect</a:t>
            </a:r>
            <a:r>
              <a:rPr lang="en-US" baseline="30000"/>
              <a:t> ®</a:t>
            </a:r>
            <a:r>
              <a:rPr lang="en-US"/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CEB6F2-1D61-AD49-4BF3-123CE624DB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08087" y="3101973"/>
            <a:ext cx="4533631" cy="723986"/>
          </a:xfrm>
        </p:spPr>
        <p:txBody>
          <a:bodyPr/>
          <a:lstStyle/>
          <a:p>
            <a:r>
              <a:rPr lang="en-US"/>
              <a:t>What to Know on Your </a:t>
            </a:r>
            <a:br>
              <a:rPr lang="en-US"/>
            </a:br>
            <a:r>
              <a:rPr lang="en-US"/>
              <a:t>First Day of Clas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CF8DC1-294A-3B17-394F-77CB7480A2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918B3A-34B7-765B-6FFF-954DC31DBE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75977C7-63D2-A57C-FF70-D762B6C44A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251"/>
          <a:stretch/>
        </p:blipFill>
        <p:spPr>
          <a:xfrm>
            <a:off x="5671335" y="583701"/>
            <a:ext cx="6664502" cy="6274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10135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3ECB67-2626-98B6-7B2E-FC76D302CC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A202517-75C5-6C46-BC82-F842B0B39E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0117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: What is Sharpen?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C0A3F45-C847-CAC3-F71D-3D129B93EDB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634" y="1736496"/>
            <a:ext cx="10706330" cy="4374092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harpen is McGraw Hill's newest study tool: an exam prep app included in Connect! By using these platforms together, you can master your course material and ace your exams. </a:t>
            </a:r>
            <a:endParaRPr lang="en-US"/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harpen has hundreds of bite-sized tools customized for your course to help you learn in just 5 minutes. The app's AI engine delivers personalized study tips based on your progress, so you can see what you've mastered and what you need to review.</a:t>
            </a:r>
            <a:endParaRPr lang="en-US"/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ince Sharpen is made by McGraw Hill, you can trust its content: accurate and focused on the most important concepts. You can launch Sharpen with one click from Connect or the LMS or log into </a:t>
            </a:r>
            <a:r>
              <a:rPr lang="en-US" b="1" err="1">
                <a:latin typeface="Arial"/>
                <a:cs typeface="Arial"/>
              </a:rPr>
              <a:t>Sharpen's</a:t>
            </a:r>
            <a:r>
              <a:rPr lang="en-US" b="1">
                <a:latin typeface="Arial"/>
                <a:cs typeface="Arial"/>
              </a:rPr>
              <a:t> web or mobile apps.</a:t>
            </a:r>
            <a:endParaRPr lang="en-US">
              <a:solidFill>
                <a:srgbClr val="000000"/>
              </a:solidFill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06AE97EF-0C45-24CA-FE18-8ECC8ED539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F68DC74-3731-B670-7F27-B5FB241102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  <p:pic>
        <p:nvPicPr>
          <p:cNvPr id="7" name="Picture 6" descr="Laptop showing the McGraw Hill Connect platform and a mobile phone showing the Sharpen study app.">
            <a:extLst>
              <a:ext uri="{FF2B5EF4-FFF2-40B4-BE49-F238E27FC236}">
                <a16:creationId xmlns:a16="http://schemas.microsoft.com/office/drawing/2014/main" id="{25FAB81B-B0F0-B287-4225-8C00219481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50447" y="4972640"/>
            <a:ext cx="2546193" cy="1888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9245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 Slides">
  <a:themeElements>
    <a:clrScheme name="Custom 3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352815ED-5449-C549-90F0-EF17730CF768}"/>
    </a:ext>
  </a:extLst>
</a:theme>
</file>

<file path=ppt/theme/theme10.xml><?xml version="1.0" encoding="utf-8"?>
<a:theme xmlns:a="http://schemas.openxmlformats.org/drawingml/2006/main" name="Closing Slides">
  <a:themeElements>
    <a:clrScheme name="Custom 3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5D7D9312-D834-4646-A40F-5CFBDD29F038}"/>
    </a:ext>
  </a:extLst>
</a:theme>
</file>

<file path=ppt/theme/theme11.xml><?xml version="1.0" encoding="utf-8"?>
<a:theme xmlns:a="http://schemas.openxmlformats.org/drawingml/2006/main" name="Master Slide Gray Header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cGraw Hill PPT template as of 12.7.21" id="{AFE06423-DED1-418F-A980-C7FCDD9FF36E}" vid="{37397CAB-5060-489A-BB65-9DFAEE360247}"/>
    </a:ext>
  </a:extLst>
</a:theme>
</file>

<file path=ppt/theme/theme12.xml><?xml version="1.0" encoding="utf-8"?>
<a:theme xmlns:a="http://schemas.openxmlformats.org/drawingml/2006/main" name="7_Office Theme">
  <a:themeElements>
    <a:clrScheme name="Redi">
      <a:dk1>
        <a:srgbClr val="313936"/>
      </a:dk1>
      <a:lt1>
        <a:srgbClr val="F2F6F3"/>
      </a:lt1>
      <a:dk2>
        <a:srgbClr val="313936"/>
      </a:dk2>
      <a:lt2>
        <a:srgbClr val="F3F6F4"/>
      </a:lt2>
      <a:accent1>
        <a:srgbClr val="FED67A"/>
      </a:accent1>
      <a:accent2>
        <a:srgbClr val="F4A352"/>
      </a:accent2>
      <a:accent3>
        <a:srgbClr val="F16E55"/>
      </a:accent3>
      <a:accent4>
        <a:srgbClr val="BE497F"/>
      </a:accent4>
      <a:accent5>
        <a:srgbClr val="AA285E"/>
      </a:accent5>
      <a:accent6>
        <a:srgbClr val="4D2F71"/>
      </a:accent6>
      <a:hlink>
        <a:srgbClr val="57C1DD"/>
      </a:hlink>
      <a:folHlink>
        <a:srgbClr val="1E93C6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Office Theme 2013 - 202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able of Contents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B39F900F-F438-ED4C-9BB9-27EDD81E7952}"/>
    </a:ext>
  </a:extLst>
</a:theme>
</file>

<file path=ppt/theme/theme3.xml><?xml version="1.0" encoding="utf-8"?>
<a:theme xmlns:a="http://schemas.openxmlformats.org/drawingml/2006/main" name="Chapter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DED5EA3D-16A4-7C45-BF12-D3DCD01D7420}"/>
    </a:ext>
  </a:extLst>
</a:theme>
</file>

<file path=ppt/theme/theme4.xml><?xml version="1.0" encoding="utf-8"?>
<a:theme xmlns:a="http://schemas.openxmlformats.org/drawingml/2006/main" name="Split Content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C3BA3656-BF0F-DA41-B94C-4D0F4B5A7075}"/>
    </a:ext>
  </a:extLst>
</a:theme>
</file>

<file path=ppt/theme/theme5.xml><?xml version="1.0" encoding="utf-8"?>
<a:theme xmlns:a="http://schemas.openxmlformats.org/drawingml/2006/main" name="List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845AF564-5821-B446-B673-46A17AAE1048}"/>
    </a:ext>
  </a:extLst>
</a:theme>
</file>

<file path=ppt/theme/theme6.xml><?xml version="1.0" encoding="utf-8"?>
<a:theme xmlns:a="http://schemas.openxmlformats.org/drawingml/2006/main" name="Call-Out Box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15D6BFAF-FDB0-6C4F-BE05-70B8932CB53C}"/>
    </a:ext>
  </a:extLst>
</a:theme>
</file>

<file path=ppt/theme/theme7.xml><?xml version="1.0" encoding="utf-8"?>
<a:theme xmlns:a="http://schemas.openxmlformats.org/drawingml/2006/main" name="Column and Statistic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68866F8D-219E-1D48-8232-F35BAF3AB18E}"/>
    </a:ext>
  </a:extLst>
</a:theme>
</file>

<file path=ppt/theme/theme8.xml><?xml version="1.0" encoding="utf-8"?>
<a:theme xmlns:a="http://schemas.openxmlformats.org/drawingml/2006/main" name="Quotes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99952907-742D-2147-98E7-3817E1F17243}"/>
    </a:ext>
  </a:extLst>
</a:theme>
</file>

<file path=ppt/theme/theme9.xml><?xml version="1.0" encoding="utf-8"?>
<a:theme xmlns:a="http://schemas.openxmlformats.org/drawingml/2006/main" name="Bio Slides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E689B527-ECED-9640-BAF2-E295E40E1BB3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63E5BD4A2DB99489DADB245B77948E1" ma:contentTypeVersion="14" ma:contentTypeDescription="Create a new document." ma:contentTypeScope="" ma:versionID="8fe2cf224561322f6307ff69f0cbd4e8">
  <xsd:schema xmlns:xsd="http://www.w3.org/2001/XMLSchema" xmlns:xs="http://www.w3.org/2001/XMLSchema" xmlns:p="http://schemas.microsoft.com/office/2006/metadata/properties" xmlns:ns2="55eee036-b312-4691-be2e-efe9fdaf1737" xmlns:ns3="4f83251b-4d3b-4580-8981-be5e2b08b791" targetNamespace="http://schemas.microsoft.com/office/2006/metadata/properties" ma:root="true" ma:fieldsID="efd146875e61d015b75b2115db56588f" ns2:_="" ns3:_="">
    <xsd:import namespace="55eee036-b312-4691-be2e-efe9fdaf1737"/>
    <xsd:import namespace="4f83251b-4d3b-4580-8981-be5e2b08b7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eee036-b312-4691-be2e-efe9fdaf173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b8617a1-beef-4e24-867f-51551f54cfe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83251b-4d3b-4580-8981-be5e2b08b791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c39b3064-63db-4cd0-875f-805d9032981a}" ma:internalName="TaxCatchAll" ma:showField="CatchAllData" ma:web="4f83251b-4d3b-4580-8981-be5e2b08b7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5eee036-b312-4691-be2e-efe9fdaf1737">
      <Terms xmlns="http://schemas.microsoft.com/office/infopath/2007/PartnerControls"/>
    </lcf76f155ced4ddcb4097134ff3c332f>
    <TaxCatchAll xmlns="4f83251b-4d3b-4580-8981-be5e2b08b79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952D43E-7715-4908-BA91-3F9C58B3A02C}">
  <ds:schemaRefs>
    <ds:schemaRef ds:uri="4f83251b-4d3b-4580-8981-be5e2b08b791"/>
    <ds:schemaRef ds:uri="55eee036-b312-4691-be2e-efe9fdaf173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14F98F79-CDE5-4D73-B2C6-1BC6C1BC02F1}">
  <ds:schemaRefs>
    <ds:schemaRef ds:uri="4f83251b-4d3b-4580-8981-be5e2b08b791"/>
    <ds:schemaRef ds:uri="55eee036-b312-4691-be2e-efe9fdaf173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A92827D6-6DC0-4774-96A1-CBE03911362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3.03.13 McGraw Hill PowerPoint Template</Template>
  <TotalTime>4</TotalTime>
  <Words>1485</Words>
  <Application>Microsoft Macintosh PowerPoint</Application>
  <PresentationFormat>Widescreen</PresentationFormat>
  <Paragraphs>183</Paragraphs>
  <Slides>23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44" baseType="lpstr">
      <vt:lpstr>Arial</vt:lpstr>
      <vt:lpstr>Arial Black</vt:lpstr>
      <vt:lpstr>Arial,Sans-Serif</vt:lpstr>
      <vt:lpstr>Calibri</vt:lpstr>
      <vt:lpstr>Magazine Grotesque</vt:lpstr>
      <vt:lpstr>Magazine Grotesque Bold</vt:lpstr>
      <vt:lpstr>Wingdings</vt:lpstr>
      <vt:lpstr>Wingdings,Sans-Serif</vt:lpstr>
      <vt:lpstr>Cover Slides</vt:lpstr>
      <vt:lpstr>Table of Contents Slides</vt:lpstr>
      <vt:lpstr>Chapter Slides</vt:lpstr>
      <vt:lpstr>Split Content Slides</vt:lpstr>
      <vt:lpstr>List Slides</vt:lpstr>
      <vt:lpstr>Call-Out Box Slides</vt:lpstr>
      <vt:lpstr>Column and Statistic Slides</vt:lpstr>
      <vt:lpstr>Quotes</vt:lpstr>
      <vt:lpstr>Bio Slides</vt:lpstr>
      <vt:lpstr>Closing Slides</vt:lpstr>
      <vt:lpstr>Master Slide Gray Header</vt:lpstr>
      <vt:lpstr>7_Office Theme</vt:lpstr>
      <vt:lpstr>think-cell Slide</vt:lpstr>
      <vt:lpstr>McGraw Hill Connect ®</vt:lpstr>
      <vt:lpstr>Connect is your personalized digital learning experience designed to help you optimize study time and ramp up your grade potential.</vt:lpstr>
      <vt:lpstr>Make the Most of Connect!</vt:lpstr>
      <vt:lpstr>Step 1</vt:lpstr>
      <vt:lpstr>Step 2</vt:lpstr>
      <vt:lpstr>Step 3</vt:lpstr>
      <vt:lpstr>Slides Available for the First Day of Class: Sharpen Companion, IA, Standalone</vt:lpstr>
      <vt:lpstr>Getting Started with McGraw Hill Connect ® and Sharpen</vt:lpstr>
      <vt:lpstr>Students: What is Sharpen?</vt:lpstr>
      <vt:lpstr>Sharpen is the ultimate college study app for exam prep</vt:lpstr>
      <vt:lpstr>Download the Sharpen College Study App – Scan This Code​</vt:lpstr>
      <vt:lpstr>Students, here are tips to make the most of Connect: </vt:lpstr>
      <vt:lpstr>Students, here are some tips to ace your exams with Sharpen:</vt:lpstr>
      <vt:lpstr>Students: Study on your Smartphone or Tablet!</vt:lpstr>
      <vt:lpstr>Connect Student Support Learn how to register, navigate Connect, use SmartBook®, download the ReadAnywhere® app, and more!  mheducation.com/highered/support/student/connect.html Plus, access technical support via chat  or phone at (800) 331-5094. Hours of Operation: Sunday: 12 PM to 12 AM ET Monday–Thursday: 24 hours Friday: 12 AM to 9 PM ET Saturday: 10 AM to 8 PM ET</vt:lpstr>
      <vt:lpstr>Sharpen Companion Purchase Flow IA Registration: Connect without a Learning Management System (LMS)   </vt:lpstr>
      <vt:lpstr>Step 1: Register Directly in Connect</vt:lpstr>
      <vt:lpstr>Step 2: </vt:lpstr>
      <vt:lpstr>Step 3: </vt:lpstr>
      <vt:lpstr>Sharpen Companion Log-In Flow Non-IA and IA Registration: Connect without a Learning Management System (LMS)  </vt:lpstr>
      <vt:lpstr>Sharpen Companion Log-In Flow Par 1</vt:lpstr>
      <vt:lpstr>Sharpen Companion Log-In Flow Part 2</vt:lpstr>
      <vt:lpstr>Thank you!</vt:lpstr>
    </vt:vector>
  </TitlesOfParts>
  <Company>McGraw-Hi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tting Started with ALEKS®</dc:title>
  <dc:creator>Hicks, Selena</dc:creator>
  <cp:lastModifiedBy>Griffin, Raven</cp:lastModifiedBy>
  <cp:revision>5</cp:revision>
  <dcterms:created xsi:type="dcterms:W3CDTF">2023-07-10T01:20:11Z</dcterms:created>
  <dcterms:modified xsi:type="dcterms:W3CDTF">2025-05-28T21:48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3E5BD4A2DB99489DADB245B77948E1</vt:lpwstr>
  </property>
  <property fmtid="{D5CDD505-2E9C-101B-9397-08002B2CF9AE}" pid="3" name="MediaServiceImageTags">
    <vt:lpwstr/>
  </property>
  <property fmtid="{D5CDD505-2E9C-101B-9397-08002B2CF9AE}" pid="4" name="Order">
    <vt:r8>22203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ExtendedDescription">
    <vt:lpwstr/>
  </property>
  <property fmtid="{D5CDD505-2E9C-101B-9397-08002B2CF9AE}" pid="10" name="TriggerFlowInfo">
    <vt:lpwstr/>
  </property>
  <property fmtid="{D5CDD505-2E9C-101B-9397-08002B2CF9AE}" pid="11" name="_SharedFileIndex">
    <vt:lpwstr/>
  </property>
  <property fmtid="{D5CDD505-2E9C-101B-9397-08002B2CF9AE}" pid="12" name="_SourceUrl">
    <vt:lpwstr/>
  </property>
</Properties>
</file>